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3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76" r:id="rId4"/>
    <p:sldMasterId id="2147483695" r:id="rId5"/>
    <p:sldMasterId id="2147483707" r:id="rId6"/>
    <p:sldMasterId id="2147483712" r:id="rId7"/>
    <p:sldMasterId id="2147483789" r:id="rId8"/>
  </p:sldMasterIdLst>
  <p:notesMasterIdLst>
    <p:notesMasterId r:id="rId66"/>
  </p:notesMasterIdLst>
  <p:handoutMasterIdLst>
    <p:handoutMasterId r:id="rId67"/>
  </p:handoutMasterIdLst>
  <p:sldIdLst>
    <p:sldId id="276" r:id="rId9"/>
    <p:sldId id="2147326976" r:id="rId10"/>
    <p:sldId id="2147327024" r:id="rId11"/>
    <p:sldId id="2147327015" r:id="rId12"/>
    <p:sldId id="2147326987" r:id="rId13"/>
    <p:sldId id="2147327004" r:id="rId14"/>
    <p:sldId id="2147326988" r:id="rId15"/>
    <p:sldId id="2147327002" r:id="rId16"/>
    <p:sldId id="2147327003" r:id="rId17"/>
    <p:sldId id="2147327005" r:id="rId18"/>
    <p:sldId id="2147327006" r:id="rId19"/>
    <p:sldId id="2147327007" r:id="rId20"/>
    <p:sldId id="2147327008" r:id="rId21"/>
    <p:sldId id="2147327009" r:id="rId22"/>
    <p:sldId id="2147327012" r:id="rId23"/>
    <p:sldId id="2147327013" r:id="rId24"/>
    <p:sldId id="2147327025" r:id="rId25"/>
    <p:sldId id="2147326977" r:id="rId26"/>
    <p:sldId id="2147327018" r:id="rId27"/>
    <p:sldId id="2147327019" r:id="rId28"/>
    <p:sldId id="2147327020" r:id="rId29"/>
    <p:sldId id="2147327021" r:id="rId30"/>
    <p:sldId id="2147327022" r:id="rId31"/>
    <p:sldId id="2147327023" r:id="rId32"/>
    <p:sldId id="2147327026" r:id="rId33"/>
    <p:sldId id="2147327016" r:id="rId34"/>
    <p:sldId id="2147327010" r:id="rId35"/>
    <p:sldId id="2147327027" r:id="rId36"/>
    <p:sldId id="2147327011" r:id="rId37"/>
    <p:sldId id="2147327028" r:id="rId38"/>
    <p:sldId id="2147327031" r:id="rId39"/>
    <p:sldId id="2147327033" r:id="rId40"/>
    <p:sldId id="2147327032" r:id="rId41"/>
    <p:sldId id="2147327037" r:id="rId42"/>
    <p:sldId id="2147327038" r:id="rId43"/>
    <p:sldId id="2147327039" r:id="rId44"/>
    <p:sldId id="2147327029" r:id="rId45"/>
    <p:sldId id="2147327036" r:id="rId46"/>
    <p:sldId id="2147327034" r:id="rId47"/>
    <p:sldId id="2147327035" r:id="rId48"/>
    <p:sldId id="2147327040" r:id="rId49"/>
    <p:sldId id="2147327041" r:id="rId50"/>
    <p:sldId id="2147327042" r:id="rId51"/>
    <p:sldId id="2147327043" r:id="rId52"/>
    <p:sldId id="2147327044" r:id="rId53"/>
    <p:sldId id="2147327054" r:id="rId54"/>
    <p:sldId id="2147327055" r:id="rId55"/>
    <p:sldId id="2147327045" r:id="rId56"/>
    <p:sldId id="2147327046" r:id="rId57"/>
    <p:sldId id="2147327047" r:id="rId58"/>
    <p:sldId id="2147327048" r:id="rId59"/>
    <p:sldId id="2147327049" r:id="rId60"/>
    <p:sldId id="2147327050" r:id="rId61"/>
    <p:sldId id="2147327051" r:id="rId62"/>
    <p:sldId id="2147327052" r:id="rId63"/>
    <p:sldId id="2147327053" r:id="rId64"/>
    <p:sldId id="2147327017" r:id="rId65"/>
  </p:sldIdLst>
  <p:sldSz cx="11949113" cy="6721475"/>
  <p:notesSz cx="9220200" cy="6934200"/>
  <p:custDataLst>
    <p:tags r:id="rId6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4" orient="horz" pos="3761" userDrawn="1">
          <p15:clr>
            <a:srgbClr val="A4A3A4"/>
          </p15:clr>
        </p15:guide>
        <p15:guide id="5" orient="horz" pos="926" userDrawn="1">
          <p15:clr>
            <a:srgbClr val="A4A3A4"/>
          </p15:clr>
        </p15:guide>
        <p15:guide id="6" pos="372" userDrawn="1">
          <p15:clr>
            <a:srgbClr val="A4A3A4"/>
          </p15:clr>
        </p15:guide>
        <p15:guide id="7" pos="7220" userDrawn="1">
          <p15:clr>
            <a:srgbClr val="A4A3A4"/>
          </p15:clr>
        </p15:guide>
        <p15:guide id="8" orient="horz" pos="3975" userDrawn="1">
          <p15:clr>
            <a:srgbClr val="A4A3A4"/>
          </p15:clr>
        </p15:guide>
        <p15:guide id="9" orient="horz" pos="690" userDrawn="1">
          <p15:clr>
            <a:srgbClr val="A4A3A4"/>
          </p15:clr>
        </p15:guide>
        <p15:guide id="11" pos="308" userDrawn="1">
          <p15:clr>
            <a:srgbClr val="A4A3A4"/>
          </p15:clr>
        </p15:guide>
        <p15:guide id="12" pos="7124" userDrawn="1">
          <p15:clr>
            <a:srgbClr val="A4A3A4"/>
          </p15:clr>
        </p15:guide>
        <p15:guide id="13" pos="10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12" userDrawn="1">
          <p15:clr>
            <a:srgbClr val="A4A3A4"/>
          </p15:clr>
        </p15:guide>
        <p15:guide id="2" pos="2920" userDrawn="1">
          <p15:clr>
            <a:srgbClr val="A4A3A4"/>
          </p15:clr>
        </p15:guide>
        <p15:guide id="3" orient="horz" pos="2267" userDrawn="1">
          <p15:clr>
            <a:srgbClr val="A4A3A4"/>
          </p15:clr>
        </p15:guide>
        <p15:guide id="4" pos="3041" userDrawn="1">
          <p15:clr>
            <a:srgbClr val="A4A3A4"/>
          </p15:clr>
        </p15:guide>
        <p15:guide id="5" orient="horz" pos="2408" userDrawn="1">
          <p15:clr>
            <a:srgbClr val="A4A3A4"/>
          </p15:clr>
        </p15:guide>
        <p15:guide id="6" orient="horz" pos="2264" userDrawn="1">
          <p15:clr>
            <a:srgbClr val="A4A3A4"/>
          </p15:clr>
        </p15:guide>
        <p15:guide id="7" pos="2913" userDrawn="1">
          <p15:clr>
            <a:srgbClr val="A4A3A4"/>
          </p15:clr>
        </p15:guide>
        <p15:guide id="8" pos="3034" userDrawn="1">
          <p15:clr>
            <a:srgbClr val="A4A3A4"/>
          </p15:clr>
        </p15:guide>
        <p15:guide id="9" orient="horz" pos="2491" userDrawn="1">
          <p15:clr>
            <a:srgbClr val="A4A3A4"/>
          </p15:clr>
        </p15:guide>
        <p15:guide id="10" orient="horz" pos="2342" userDrawn="1">
          <p15:clr>
            <a:srgbClr val="A4A3A4"/>
          </p15:clr>
        </p15:guide>
        <p15:guide id="11" orient="horz" pos="2487" userDrawn="1">
          <p15:clr>
            <a:srgbClr val="A4A3A4"/>
          </p15:clr>
        </p15:guide>
        <p15:guide id="12" orient="horz" pos="2337" userDrawn="1">
          <p15:clr>
            <a:srgbClr val="A4A3A4"/>
          </p15:clr>
        </p15:guide>
        <p15:guide id="13" pos="3045" userDrawn="1">
          <p15:clr>
            <a:srgbClr val="A4A3A4"/>
          </p15:clr>
        </p15:guide>
        <p15:guide id="14" pos="3173" userDrawn="1">
          <p15:clr>
            <a:srgbClr val="A4A3A4"/>
          </p15:clr>
        </p15:guide>
        <p15:guide id="15" pos="3038" userDrawn="1">
          <p15:clr>
            <a:srgbClr val="A4A3A4"/>
          </p15:clr>
        </p15:guide>
        <p15:guide id="16" pos="3166" userDrawn="1">
          <p15:clr>
            <a:srgbClr val="A4A3A4"/>
          </p15:clr>
        </p15:guide>
        <p15:guide id="17" orient="horz" pos="2416" userDrawn="1">
          <p15:clr>
            <a:srgbClr val="A4A3A4"/>
          </p15:clr>
        </p15:guide>
        <p15:guide id="18" orient="horz" pos="2271" userDrawn="1">
          <p15:clr>
            <a:srgbClr val="A4A3A4"/>
          </p15:clr>
        </p15:guide>
        <p15:guide id="19" orient="horz" pos="2495" userDrawn="1">
          <p15:clr>
            <a:srgbClr val="A4A3A4"/>
          </p15:clr>
        </p15:guide>
        <p15:guide id="20" orient="horz" pos="2346" userDrawn="1">
          <p15:clr>
            <a:srgbClr val="A4A3A4"/>
          </p15:clr>
        </p15:guide>
        <p15:guide id="21" pos="2927" userDrawn="1">
          <p15:clr>
            <a:srgbClr val="A4A3A4"/>
          </p15:clr>
        </p15:guide>
        <p15:guide id="22" pos="3048" userDrawn="1">
          <p15:clr>
            <a:srgbClr val="A4A3A4"/>
          </p15:clr>
        </p15:guide>
        <p15:guide id="23" pos="3054" userDrawn="1">
          <p15:clr>
            <a:srgbClr val="A4A3A4"/>
          </p15:clr>
        </p15:guide>
        <p15:guide id="24" pos="3179" userDrawn="1">
          <p15:clr>
            <a:srgbClr val="A4A3A4"/>
          </p15:clr>
        </p15:guide>
        <p15:guide id="25" orient="horz" pos="2335" userDrawn="1">
          <p15:clr>
            <a:srgbClr val="A4A3A4"/>
          </p15:clr>
        </p15:guide>
        <p15:guide id="26" orient="horz" pos="2195" userDrawn="1">
          <p15:clr>
            <a:srgbClr val="A4A3A4"/>
          </p15:clr>
        </p15:guide>
        <p15:guide id="27" orient="horz" pos="2331" userDrawn="1">
          <p15:clr>
            <a:srgbClr val="A4A3A4"/>
          </p15:clr>
        </p15:guide>
        <p15:guide id="28" orient="horz" pos="2192" userDrawn="1">
          <p15:clr>
            <a:srgbClr val="A4A3A4"/>
          </p15:clr>
        </p15:guide>
        <p15:guide id="29" orient="horz" pos="2339" userDrawn="1">
          <p15:clr>
            <a:srgbClr val="A4A3A4"/>
          </p15:clr>
        </p15:guide>
        <p15:guide id="30" orient="horz" pos="2199" userDrawn="1">
          <p15:clr>
            <a:srgbClr val="A4A3A4"/>
          </p15:clr>
        </p15:guide>
        <p15:guide id="31" orient="horz" pos="2415" userDrawn="1">
          <p15:clr>
            <a:srgbClr val="A4A3A4"/>
          </p15:clr>
        </p15:guide>
        <p15:guide id="32" pos="2796" userDrawn="1">
          <p15:clr>
            <a:srgbClr val="A4A3A4"/>
          </p15:clr>
        </p15:guide>
        <p15:guide id="33" pos="2915" userDrawn="1">
          <p15:clr>
            <a:srgbClr val="A4A3A4"/>
          </p15:clr>
        </p15:guide>
        <p15:guide id="34" pos="2790" userDrawn="1">
          <p15:clr>
            <a:srgbClr val="A4A3A4"/>
          </p15:clr>
        </p15:guide>
        <p15:guide id="35" pos="2907" userDrawn="1">
          <p15:clr>
            <a:srgbClr val="A4A3A4"/>
          </p15:clr>
        </p15:guide>
        <p15:guide id="36" pos="2919" userDrawn="1">
          <p15:clr>
            <a:srgbClr val="A4A3A4"/>
          </p15:clr>
        </p15:guide>
        <p15:guide id="37" pos="2911" userDrawn="1">
          <p15:clr>
            <a:srgbClr val="A4A3A4"/>
          </p15:clr>
        </p15:guide>
        <p15:guide id="38" pos="3036" userDrawn="1">
          <p15:clr>
            <a:srgbClr val="A4A3A4"/>
          </p15:clr>
        </p15:guide>
        <p15:guide id="39" pos="2804" userDrawn="1">
          <p15:clr>
            <a:srgbClr val="A4A3A4"/>
          </p15:clr>
        </p15:guide>
        <p15:guide id="40" pos="2921" userDrawn="1">
          <p15:clr>
            <a:srgbClr val="A4A3A4"/>
          </p15:clr>
        </p15:guide>
        <p15:guide id="41" pos="3046" userDrawn="1">
          <p15:clr>
            <a:srgbClr val="A4A3A4"/>
          </p15:clr>
        </p15:guide>
        <p15:guide id="42" orient="horz" pos="2270" userDrawn="1">
          <p15:clr>
            <a:srgbClr val="A4A3A4"/>
          </p15:clr>
        </p15:guide>
        <p15:guide id="43" orient="horz" pos="2411" userDrawn="1">
          <p15:clr>
            <a:srgbClr val="A4A3A4"/>
          </p15:clr>
        </p15:guide>
        <p15:guide id="45" orient="horz" pos="2494" userDrawn="1">
          <p15:clr>
            <a:srgbClr val="A4A3A4"/>
          </p15:clr>
        </p15:guide>
        <p15:guide id="46" orient="horz" pos="2345" userDrawn="1">
          <p15:clr>
            <a:srgbClr val="A4A3A4"/>
          </p15:clr>
        </p15:guide>
        <p15:guide id="47" orient="horz" pos="2490" userDrawn="1">
          <p15:clr>
            <a:srgbClr val="A4A3A4"/>
          </p15:clr>
        </p15:guide>
        <p15:guide id="48" orient="horz" pos="2341" userDrawn="1">
          <p15:clr>
            <a:srgbClr val="A4A3A4"/>
          </p15:clr>
        </p15:guide>
        <p15:guide id="49" orient="horz" pos="2419" userDrawn="1">
          <p15:clr>
            <a:srgbClr val="A4A3A4"/>
          </p15:clr>
        </p15:guide>
        <p15:guide id="50" orient="horz" pos="2274" userDrawn="1">
          <p15:clr>
            <a:srgbClr val="A4A3A4"/>
          </p15:clr>
        </p15:guide>
        <p15:guide id="51" orient="horz" pos="2498" userDrawn="1">
          <p15:clr>
            <a:srgbClr val="A4A3A4"/>
          </p15:clr>
        </p15:guide>
        <p15:guide id="52" orient="horz" pos="2349" userDrawn="1">
          <p15:clr>
            <a:srgbClr val="A4A3A4"/>
          </p15:clr>
        </p15:guide>
        <p15:guide id="53" orient="horz" pos="2338" userDrawn="1">
          <p15:clr>
            <a:srgbClr val="A4A3A4"/>
          </p15:clr>
        </p15:guide>
        <p15:guide id="54" orient="horz" pos="2198" userDrawn="1">
          <p15:clr>
            <a:srgbClr val="A4A3A4"/>
          </p15:clr>
        </p15:guide>
        <p15:guide id="55" orient="horz" pos="2334" userDrawn="1">
          <p15:clr>
            <a:srgbClr val="A4A3A4"/>
          </p15:clr>
        </p15:guide>
        <p15:guide id="57" orient="horz" pos="2343" userDrawn="1">
          <p15:clr>
            <a:srgbClr val="A4A3A4"/>
          </p15:clr>
        </p15:guide>
        <p15:guide id="58" orient="horz" pos="2202" userDrawn="1">
          <p15:clr>
            <a:srgbClr val="A4A3A4"/>
          </p15:clr>
        </p15:guide>
        <p15:guide id="59" pos="2896" userDrawn="1">
          <p15:clr>
            <a:srgbClr val="A4A3A4"/>
          </p15:clr>
        </p15:guide>
        <p15:guide id="60" pos="3017" userDrawn="1">
          <p15:clr>
            <a:srgbClr val="A4A3A4"/>
          </p15:clr>
        </p15:guide>
        <p15:guide id="61" pos="2889" userDrawn="1">
          <p15:clr>
            <a:srgbClr val="A4A3A4"/>
          </p15:clr>
        </p15:guide>
        <p15:guide id="62" pos="3010" userDrawn="1">
          <p15:clr>
            <a:srgbClr val="A4A3A4"/>
          </p15:clr>
        </p15:guide>
        <p15:guide id="63" pos="3020" userDrawn="1">
          <p15:clr>
            <a:srgbClr val="A4A3A4"/>
          </p15:clr>
        </p15:guide>
        <p15:guide id="64" pos="3149" userDrawn="1">
          <p15:clr>
            <a:srgbClr val="A4A3A4"/>
          </p15:clr>
        </p15:guide>
        <p15:guide id="65" pos="3014" userDrawn="1">
          <p15:clr>
            <a:srgbClr val="A4A3A4"/>
          </p15:clr>
        </p15:guide>
        <p15:guide id="66" pos="3142" userDrawn="1">
          <p15:clr>
            <a:srgbClr val="A4A3A4"/>
          </p15:clr>
        </p15:guide>
        <p15:guide id="67" pos="2903" userDrawn="1">
          <p15:clr>
            <a:srgbClr val="A4A3A4"/>
          </p15:clr>
        </p15:guide>
        <p15:guide id="68" pos="3022" userDrawn="1">
          <p15:clr>
            <a:srgbClr val="A4A3A4"/>
          </p15:clr>
        </p15:guide>
        <p15:guide id="69" pos="3029" userDrawn="1">
          <p15:clr>
            <a:srgbClr val="A4A3A4"/>
          </p15:clr>
        </p15:guide>
        <p15:guide id="70" pos="3155" userDrawn="1">
          <p15:clr>
            <a:srgbClr val="A4A3A4"/>
          </p15:clr>
        </p15:guide>
        <p15:guide id="71" pos="2775" userDrawn="1">
          <p15:clr>
            <a:srgbClr val="A4A3A4"/>
          </p15:clr>
        </p15:guide>
        <p15:guide id="72" pos="2891" userDrawn="1">
          <p15:clr>
            <a:srgbClr val="A4A3A4"/>
          </p15:clr>
        </p15:guide>
        <p15:guide id="73" pos="2766" userDrawn="1">
          <p15:clr>
            <a:srgbClr val="A4A3A4"/>
          </p15:clr>
        </p15:guide>
        <p15:guide id="74" pos="2883" userDrawn="1">
          <p15:clr>
            <a:srgbClr val="A4A3A4"/>
          </p15:clr>
        </p15:guide>
        <p15:guide id="75" pos="2895" userDrawn="1">
          <p15:clr>
            <a:srgbClr val="A4A3A4"/>
          </p15:clr>
        </p15:guide>
        <p15:guide id="76" pos="2888" userDrawn="1">
          <p15:clr>
            <a:srgbClr val="A4A3A4"/>
          </p15:clr>
        </p15:guide>
        <p15:guide id="77" pos="3012" userDrawn="1">
          <p15:clr>
            <a:srgbClr val="A4A3A4"/>
          </p15:clr>
        </p15:guide>
        <p15:guide id="78" pos="2782" userDrawn="1">
          <p15:clr>
            <a:srgbClr val="A4A3A4"/>
          </p15:clr>
        </p15:guide>
        <p15:guide id="79" pos="2897" userDrawn="1">
          <p15:clr>
            <a:srgbClr val="A4A3A4"/>
          </p15:clr>
        </p15:guide>
        <p15:guide id="80" pos="3021" userDrawn="1">
          <p15:clr>
            <a:srgbClr val="A4A3A4"/>
          </p15:clr>
        </p15:guide>
        <p15:guide id="81" orient="horz" pos="2407" userDrawn="1">
          <p15:clr>
            <a:srgbClr val="A4A3A4"/>
          </p15:clr>
        </p15:guide>
        <p15:guide id="82" orient="horz" pos="2263" userDrawn="1">
          <p15:clr>
            <a:srgbClr val="A4A3A4"/>
          </p15:clr>
        </p15:guide>
        <p15:guide id="83" orient="horz" pos="2486" userDrawn="1">
          <p15:clr>
            <a:srgbClr val="A4A3A4"/>
          </p15:clr>
        </p15:guide>
        <p15:guide id="85" orient="horz" pos="2191" userDrawn="1">
          <p15:clr>
            <a:srgbClr val="A4A3A4"/>
          </p15:clr>
        </p15:guide>
        <p15:guide id="86" orient="horz" pos="2414" userDrawn="1">
          <p15:clr>
            <a:srgbClr val="A4A3A4"/>
          </p15:clr>
        </p15:guide>
        <p15:guide id="88" orient="horz" pos="2410" userDrawn="1">
          <p15:clr>
            <a:srgbClr val="A4A3A4"/>
          </p15:clr>
        </p15:guide>
        <p15:guide id="89" orient="horz" pos="2266" userDrawn="1">
          <p15:clr>
            <a:srgbClr val="A4A3A4"/>
          </p15:clr>
        </p15:guide>
        <p15:guide id="90" orient="horz" pos="2493" userDrawn="1">
          <p15:clr>
            <a:srgbClr val="A4A3A4"/>
          </p15:clr>
        </p15:guide>
        <p15:guide id="91" orient="horz" pos="2344" userDrawn="1">
          <p15:clr>
            <a:srgbClr val="A4A3A4"/>
          </p15:clr>
        </p15:guide>
        <p15:guide id="92" orient="horz" pos="2489" userDrawn="1">
          <p15:clr>
            <a:srgbClr val="A4A3A4"/>
          </p15:clr>
        </p15:guide>
        <p15:guide id="93" orient="horz" pos="2340" userDrawn="1">
          <p15:clr>
            <a:srgbClr val="A4A3A4"/>
          </p15:clr>
        </p15:guide>
        <p15:guide id="94" orient="horz" pos="2418" userDrawn="1">
          <p15:clr>
            <a:srgbClr val="A4A3A4"/>
          </p15:clr>
        </p15:guide>
        <p15:guide id="95" orient="horz" pos="2273" userDrawn="1">
          <p15:clr>
            <a:srgbClr val="A4A3A4"/>
          </p15:clr>
        </p15:guide>
        <p15:guide id="96" orient="horz" pos="2497" userDrawn="1">
          <p15:clr>
            <a:srgbClr val="A4A3A4"/>
          </p15:clr>
        </p15:guide>
        <p15:guide id="97" orient="horz" pos="2348" userDrawn="1">
          <p15:clr>
            <a:srgbClr val="A4A3A4"/>
          </p15:clr>
        </p15:guide>
        <p15:guide id="99" orient="horz" pos="2194" userDrawn="1">
          <p15:clr>
            <a:srgbClr val="A4A3A4"/>
          </p15:clr>
        </p15:guide>
        <p15:guide id="100" orient="horz" pos="2201" userDrawn="1">
          <p15:clr>
            <a:srgbClr val="A4A3A4"/>
          </p15:clr>
        </p15:guide>
        <p15:guide id="101" pos="2947" userDrawn="1">
          <p15:clr>
            <a:srgbClr val="A4A3A4"/>
          </p15:clr>
        </p15:guide>
        <p15:guide id="102" pos="3069" userDrawn="1">
          <p15:clr>
            <a:srgbClr val="A4A3A4"/>
          </p15:clr>
        </p15:guide>
        <p15:guide id="103" pos="2940" userDrawn="1">
          <p15:clr>
            <a:srgbClr val="A4A3A4"/>
          </p15:clr>
        </p15:guide>
        <p15:guide id="104" pos="3062" userDrawn="1">
          <p15:clr>
            <a:srgbClr val="A4A3A4"/>
          </p15:clr>
        </p15:guide>
        <p15:guide id="105" pos="3073" userDrawn="1">
          <p15:clr>
            <a:srgbClr val="A4A3A4"/>
          </p15:clr>
        </p15:guide>
        <p15:guide id="106" pos="3202" userDrawn="1">
          <p15:clr>
            <a:srgbClr val="A4A3A4"/>
          </p15:clr>
        </p15:guide>
        <p15:guide id="107" pos="3066" userDrawn="1">
          <p15:clr>
            <a:srgbClr val="A4A3A4"/>
          </p15:clr>
        </p15:guide>
        <p15:guide id="108" pos="3195" userDrawn="1">
          <p15:clr>
            <a:srgbClr val="A4A3A4"/>
          </p15:clr>
        </p15:guide>
        <p15:guide id="109" pos="2953" userDrawn="1">
          <p15:clr>
            <a:srgbClr val="A4A3A4"/>
          </p15:clr>
        </p15:guide>
        <p15:guide id="110" pos="3076" userDrawn="1">
          <p15:clr>
            <a:srgbClr val="A4A3A4"/>
          </p15:clr>
        </p15:guide>
        <p15:guide id="111" pos="3082" userDrawn="1">
          <p15:clr>
            <a:srgbClr val="A4A3A4"/>
          </p15:clr>
        </p15:guide>
        <p15:guide id="112" pos="3208" userDrawn="1">
          <p15:clr>
            <a:srgbClr val="A4A3A4"/>
          </p15:clr>
        </p15:guide>
        <p15:guide id="113" pos="2823" userDrawn="1">
          <p15:clr>
            <a:srgbClr val="A4A3A4"/>
          </p15:clr>
        </p15:guide>
        <p15:guide id="114" pos="2943" userDrawn="1">
          <p15:clr>
            <a:srgbClr val="A4A3A4"/>
          </p15:clr>
        </p15:guide>
        <p15:guide id="115" pos="2816" userDrawn="1">
          <p15:clr>
            <a:srgbClr val="A4A3A4"/>
          </p15:clr>
        </p15:guide>
        <p15:guide id="116" pos="2935" userDrawn="1">
          <p15:clr>
            <a:srgbClr val="A4A3A4"/>
          </p15:clr>
        </p15:guide>
        <p15:guide id="117" pos="2945" userDrawn="1">
          <p15:clr>
            <a:srgbClr val="A4A3A4"/>
          </p15:clr>
        </p15:guide>
        <p15:guide id="118" pos="2939" userDrawn="1">
          <p15:clr>
            <a:srgbClr val="A4A3A4"/>
          </p15:clr>
        </p15:guide>
        <p15:guide id="119" pos="3064" userDrawn="1">
          <p15:clr>
            <a:srgbClr val="A4A3A4"/>
          </p15:clr>
        </p15:guide>
        <p15:guide id="120" pos="2831" userDrawn="1">
          <p15:clr>
            <a:srgbClr val="A4A3A4"/>
          </p15:clr>
        </p15:guide>
        <p15:guide id="121" pos="2948" userDrawn="1">
          <p15:clr>
            <a:srgbClr val="A4A3A4"/>
          </p15:clr>
        </p15:guide>
        <p15:guide id="122" pos="2924" userDrawn="1">
          <p15:clr>
            <a:srgbClr val="A4A3A4"/>
          </p15:clr>
        </p15:guide>
        <p15:guide id="123" pos="2917" userDrawn="1">
          <p15:clr>
            <a:srgbClr val="A4A3A4"/>
          </p15:clr>
        </p15:guide>
        <p15:guide id="124" pos="3049" userDrawn="1">
          <p15:clr>
            <a:srgbClr val="A4A3A4"/>
          </p15:clr>
        </p15:guide>
        <p15:guide id="125" pos="3177" userDrawn="1">
          <p15:clr>
            <a:srgbClr val="A4A3A4"/>
          </p15:clr>
        </p15:guide>
        <p15:guide id="126" pos="3042" userDrawn="1">
          <p15:clr>
            <a:srgbClr val="A4A3A4"/>
          </p15:clr>
        </p15:guide>
        <p15:guide id="127" pos="3170" userDrawn="1">
          <p15:clr>
            <a:srgbClr val="A4A3A4"/>
          </p15:clr>
        </p15:guide>
        <p15:guide id="128" pos="2931" userDrawn="1">
          <p15:clr>
            <a:srgbClr val="A4A3A4"/>
          </p15:clr>
        </p15:guide>
        <p15:guide id="129" pos="3052" userDrawn="1">
          <p15:clr>
            <a:srgbClr val="A4A3A4"/>
          </p15:clr>
        </p15:guide>
        <p15:guide id="130" pos="3058" userDrawn="1">
          <p15:clr>
            <a:srgbClr val="A4A3A4"/>
          </p15:clr>
        </p15:guide>
        <p15:guide id="131" pos="3183" userDrawn="1">
          <p15:clr>
            <a:srgbClr val="A4A3A4"/>
          </p15:clr>
        </p15:guide>
        <p15:guide id="132" pos="2802" userDrawn="1">
          <p15:clr>
            <a:srgbClr val="A4A3A4"/>
          </p15:clr>
        </p15:guide>
        <p15:guide id="133" pos="2791" userDrawn="1">
          <p15:clr>
            <a:srgbClr val="A4A3A4"/>
          </p15:clr>
        </p15:guide>
        <p15:guide id="134" pos="2923" userDrawn="1">
          <p15:clr>
            <a:srgbClr val="A4A3A4"/>
          </p15:clr>
        </p15:guide>
        <p15:guide id="135" pos="2916" userDrawn="1">
          <p15:clr>
            <a:srgbClr val="A4A3A4"/>
          </p15:clr>
        </p15:guide>
        <p15:guide id="136" pos="3040" userDrawn="1">
          <p15:clr>
            <a:srgbClr val="A4A3A4"/>
          </p15:clr>
        </p15:guide>
        <p15:guide id="137" pos="2808" userDrawn="1">
          <p15:clr>
            <a:srgbClr val="A4A3A4"/>
          </p15:clr>
        </p15:guide>
        <p15:guide id="138" pos="2925" userDrawn="1">
          <p15:clr>
            <a:srgbClr val="A4A3A4"/>
          </p15:clr>
        </p15:guide>
        <p15:guide id="139" pos="3050" userDrawn="1">
          <p15:clr>
            <a:srgbClr val="A4A3A4"/>
          </p15:clr>
        </p15:guide>
        <p15:guide id="140" orient="horz" pos="2394" userDrawn="1">
          <p15:clr>
            <a:srgbClr val="A4A3A4"/>
          </p15:clr>
        </p15:guide>
        <p15:guide id="141" orient="horz" pos="2250" userDrawn="1">
          <p15:clr>
            <a:srgbClr val="A4A3A4"/>
          </p15:clr>
        </p15:guide>
        <p15:guide id="142" orient="horz" pos="2390" userDrawn="1">
          <p15:clr>
            <a:srgbClr val="A4A3A4"/>
          </p15:clr>
        </p15:guide>
        <p15:guide id="143" orient="horz" pos="2246" userDrawn="1">
          <p15:clr>
            <a:srgbClr val="A4A3A4"/>
          </p15:clr>
        </p15:guide>
        <p15:guide id="144" orient="horz" pos="2472" userDrawn="1">
          <p15:clr>
            <a:srgbClr val="A4A3A4"/>
          </p15:clr>
        </p15:guide>
        <p15:guide id="145" orient="horz" pos="2324" userDrawn="1">
          <p15:clr>
            <a:srgbClr val="A4A3A4"/>
          </p15:clr>
        </p15:guide>
        <p15:guide id="146" orient="horz" pos="2468" userDrawn="1">
          <p15:clr>
            <a:srgbClr val="A4A3A4"/>
          </p15:clr>
        </p15:guide>
        <p15:guide id="147" orient="horz" pos="2319" userDrawn="1">
          <p15:clr>
            <a:srgbClr val="A4A3A4"/>
          </p15:clr>
        </p15:guide>
        <p15:guide id="148" orient="horz" pos="2398" userDrawn="1">
          <p15:clr>
            <a:srgbClr val="A4A3A4"/>
          </p15:clr>
        </p15:guide>
        <p15:guide id="149" orient="horz" pos="2254" userDrawn="1">
          <p15:clr>
            <a:srgbClr val="A4A3A4"/>
          </p15:clr>
        </p15:guide>
        <p15:guide id="150" orient="horz" pos="2476" userDrawn="1">
          <p15:clr>
            <a:srgbClr val="A4A3A4"/>
          </p15:clr>
        </p15:guide>
        <p15:guide id="151" orient="horz" pos="2328" userDrawn="1">
          <p15:clr>
            <a:srgbClr val="A4A3A4"/>
          </p15:clr>
        </p15:guide>
        <p15:guide id="152" orient="horz" pos="2318" userDrawn="1">
          <p15:clr>
            <a:srgbClr val="A4A3A4"/>
          </p15:clr>
        </p15:guide>
        <p15:guide id="153" orient="horz" pos="2179" userDrawn="1">
          <p15:clr>
            <a:srgbClr val="A4A3A4"/>
          </p15:clr>
        </p15:guide>
        <p15:guide id="154" orient="horz" pos="2314" userDrawn="1">
          <p15:clr>
            <a:srgbClr val="A4A3A4"/>
          </p15:clr>
        </p15:guide>
        <p15:guide id="155" orient="horz" pos="2175" userDrawn="1">
          <p15:clr>
            <a:srgbClr val="A4A3A4"/>
          </p15:clr>
        </p15:guide>
        <p15:guide id="156" orient="horz" pos="2322" userDrawn="1">
          <p15:clr>
            <a:srgbClr val="A4A3A4"/>
          </p15:clr>
        </p15:guide>
        <p15:guide id="157" orient="horz" pos="2182" userDrawn="1">
          <p15:clr>
            <a:srgbClr val="A4A3A4"/>
          </p15:clr>
        </p15:guide>
        <p15:guide id="158" orient="horz" pos="2397" userDrawn="1">
          <p15:clr>
            <a:srgbClr val="A4A3A4"/>
          </p15:clr>
        </p15:guide>
        <p15:guide id="159" orient="horz" pos="2253" userDrawn="1">
          <p15:clr>
            <a:srgbClr val="A4A3A4"/>
          </p15:clr>
        </p15:guide>
        <p15:guide id="160" orient="horz" pos="2393" userDrawn="1">
          <p15:clr>
            <a:srgbClr val="A4A3A4"/>
          </p15:clr>
        </p15:guide>
        <p15:guide id="161" orient="horz" pos="2249" userDrawn="1">
          <p15:clr>
            <a:srgbClr val="A4A3A4"/>
          </p15:clr>
        </p15:guide>
        <p15:guide id="162" orient="horz" pos="2475" userDrawn="1">
          <p15:clr>
            <a:srgbClr val="A4A3A4"/>
          </p15:clr>
        </p15:guide>
        <p15:guide id="163" orient="horz" pos="2327" userDrawn="1">
          <p15:clr>
            <a:srgbClr val="A4A3A4"/>
          </p15:clr>
        </p15:guide>
        <p15:guide id="164" orient="horz" pos="2471" userDrawn="1">
          <p15:clr>
            <a:srgbClr val="A4A3A4"/>
          </p15:clr>
        </p15:guide>
        <p15:guide id="165" orient="horz" pos="2323" userDrawn="1">
          <p15:clr>
            <a:srgbClr val="A4A3A4"/>
          </p15:clr>
        </p15:guide>
        <p15:guide id="166" orient="horz" pos="2401" userDrawn="1">
          <p15:clr>
            <a:srgbClr val="A4A3A4"/>
          </p15:clr>
        </p15:guide>
        <p15:guide id="167" orient="horz" pos="2257" userDrawn="1">
          <p15:clr>
            <a:srgbClr val="A4A3A4"/>
          </p15:clr>
        </p15:guide>
        <p15:guide id="168" orient="horz" pos="2480" userDrawn="1">
          <p15:clr>
            <a:srgbClr val="A4A3A4"/>
          </p15:clr>
        </p15:guide>
        <p15:guide id="170" orient="horz" pos="2320" userDrawn="1">
          <p15:clr>
            <a:srgbClr val="A4A3A4"/>
          </p15:clr>
        </p15:guide>
        <p15:guide id="172" orient="horz" pos="2317" userDrawn="1">
          <p15:clr>
            <a:srgbClr val="A4A3A4"/>
          </p15:clr>
        </p15:guide>
        <p15:guide id="173" orient="horz" pos="2178" userDrawn="1">
          <p15:clr>
            <a:srgbClr val="A4A3A4"/>
          </p15:clr>
        </p15:guide>
        <p15:guide id="174" orient="horz" pos="2325" userDrawn="1">
          <p15:clr>
            <a:srgbClr val="A4A3A4"/>
          </p15:clr>
        </p15:guide>
        <p15:guide id="175" orient="horz" pos="2186" userDrawn="1">
          <p15:clr>
            <a:srgbClr val="A4A3A4"/>
          </p15:clr>
        </p15:guide>
        <p15:guide id="176" orient="horz" pos="2389" userDrawn="1">
          <p15:clr>
            <a:srgbClr val="A4A3A4"/>
          </p15:clr>
        </p15:guide>
        <p15:guide id="180" orient="horz" pos="2174" userDrawn="1">
          <p15:clr>
            <a:srgbClr val="A4A3A4"/>
          </p15:clr>
        </p15:guide>
        <p15:guide id="181" orient="horz" pos="2396" userDrawn="1">
          <p15:clr>
            <a:srgbClr val="A4A3A4"/>
          </p15:clr>
        </p15:guide>
        <p15:guide id="182" orient="horz" pos="2252" userDrawn="1">
          <p15:clr>
            <a:srgbClr val="A4A3A4"/>
          </p15:clr>
        </p15:guide>
        <p15:guide id="183" orient="horz" pos="2392" userDrawn="1">
          <p15:clr>
            <a:srgbClr val="A4A3A4"/>
          </p15:clr>
        </p15:guide>
        <p15:guide id="185" orient="horz" pos="2474" userDrawn="1">
          <p15:clr>
            <a:srgbClr val="A4A3A4"/>
          </p15:clr>
        </p15:guide>
        <p15:guide id="186" orient="horz" pos="2326" userDrawn="1">
          <p15:clr>
            <a:srgbClr val="A4A3A4"/>
          </p15:clr>
        </p15:guide>
        <p15:guide id="190" orient="horz" pos="2256" userDrawn="1">
          <p15:clr>
            <a:srgbClr val="A4A3A4"/>
          </p15:clr>
        </p15:guide>
        <p15:guide id="191" orient="horz" pos="2479" userDrawn="1">
          <p15:clr>
            <a:srgbClr val="A4A3A4"/>
          </p15:clr>
        </p15:guide>
        <p15:guide id="192" orient="horz" pos="2330" userDrawn="1">
          <p15:clr>
            <a:srgbClr val="A4A3A4"/>
          </p15:clr>
        </p15:guide>
        <p15:guide id="193" orient="horz" pos="2181" userDrawn="1">
          <p15:clr>
            <a:srgbClr val="A4A3A4"/>
          </p15:clr>
        </p15:guide>
        <p15:guide id="194" orient="horz" pos="2177" userDrawn="1">
          <p15:clr>
            <a:srgbClr val="A4A3A4"/>
          </p15:clr>
        </p15:guide>
        <p15:guide id="196" pos="2900" userDrawn="1">
          <p15:clr>
            <a:srgbClr val="A4A3A4"/>
          </p15:clr>
        </p15:guide>
        <p15:guide id="197" pos="2893" userDrawn="1">
          <p15:clr>
            <a:srgbClr val="A4A3A4"/>
          </p15:clr>
        </p15:guide>
        <p15:guide id="198" pos="3013" userDrawn="1">
          <p15:clr>
            <a:srgbClr val="A4A3A4"/>
          </p15:clr>
        </p15:guide>
        <p15:guide id="199" pos="3026" userDrawn="1">
          <p15:clr>
            <a:srgbClr val="A4A3A4"/>
          </p15:clr>
        </p15:guide>
        <p15:guide id="200" pos="3153" userDrawn="1">
          <p15:clr>
            <a:srgbClr val="A4A3A4"/>
          </p15:clr>
        </p15:guide>
        <p15:guide id="201" pos="3146" userDrawn="1">
          <p15:clr>
            <a:srgbClr val="A4A3A4"/>
          </p15:clr>
        </p15:guide>
        <p15:guide id="202" pos="3159" userDrawn="1">
          <p15:clr>
            <a:srgbClr val="A4A3A4"/>
          </p15:clr>
        </p15:guide>
        <p15:guide id="203" pos="2779" userDrawn="1">
          <p15:clr>
            <a:srgbClr val="A4A3A4"/>
          </p15:clr>
        </p15:guide>
        <p15:guide id="204" pos="2770" userDrawn="1">
          <p15:clr>
            <a:srgbClr val="A4A3A4"/>
          </p15:clr>
        </p15:guide>
        <p15:guide id="205" pos="2899" userDrawn="1">
          <p15:clr>
            <a:srgbClr val="A4A3A4"/>
          </p15:clr>
        </p15:guide>
        <p15:guide id="206" pos="2892" userDrawn="1">
          <p15:clr>
            <a:srgbClr val="A4A3A4"/>
          </p15:clr>
        </p15:guide>
        <p15:guide id="207" pos="2786" userDrawn="1">
          <p15:clr>
            <a:srgbClr val="A4A3A4"/>
          </p15:clr>
        </p15:guide>
        <p15:guide id="208" pos="2901" userDrawn="1">
          <p15:clr>
            <a:srgbClr val="A4A3A4"/>
          </p15:clr>
        </p15:guide>
        <p15:guide id="209" pos="3028" userDrawn="1">
          <p15:clr>
            <a:srgbClr val="A4A3A4"/>
          </p15:clr>
        </p15:guide>
        <p15:guide id="210" pos="2876" userDrawn="1">
          <p15:clr>
            <a:srgbClr val="A4A3A4"/>
          </p15:clr>
        </p15:guide>
        <p15:guide id="211" pos="2996" userDrawn="1">
          <p15:clr>
            <a:srgbClr val="A4A3A4"/>
          </p15:clr>
        </p15:guide>
        <p15:guide id="212" pos="2871" userDrawn="1">
          <p15:clr>
            <a:srgbClr val="A4A3A4"/>
          </p15:clr>
        </p15:guide>
        <p15:guide id="213" pos="2990" userDrawn="1">
          <p15:clr>
            <a:srgbClr val="A4A3A4"/>
          </p15:clr>
        </p15:guide>
        <p15:guide id="214" pos="3000" userDrawn="1">
          <p15:clr>
            <a:srgbClr val="A4A3A4"/>
          </p15:clr>
        </p15:guide>
        <p15:guide id="215" pos="3127" userDrawn="1">
          <p15:clr>
            <a:srgbClr val="A4A3A4"/>
          </p15:clr>
        </p15:guide>
        <p15:guide id="216" pos="2994" userDrawn="1">
          <p15:clr>
            <a:srgbClr val="A4A3A4"/>
          </p15:clr>
        </p15:guide>
        <p15:guide id="217" pos="3121" userDrawn="1">
          <p15:clr>
            <a:srgbClr val="A4A3A4"/>
          </p15:clr>
        </p15:guide>
        <p15:guide id="218" pos="3002" userDrawn="1">
          <p15:clr>
            <a:srgbClr val="A4A3A4"/>
          </p15:clr>
        </p15:guide>
        <p15:guide id="219" pos="3008" userDrawn="1">
          <p15:clr>
            <a:srgbClr val="A4A3A4"/>
          </p15:clr>
        </p15:guide>
        <p15:guide id="220" pos="3134" userDrawn="1">
          <p15:clr>
            <a:srgbClr val="A4A3A4"/>
          </p15:clr>
        </p15:guide>
        <p15:guide id="221" pos="2756" userDrawn="1">
          <p15:clr>
            <a:srgbClr val="A4A3A4"/>
          </p15:clr>
        </p15:guide>
        <p15:guide id="222" pos="2872" userDrawn="1">
          <p15:clr>
            <a:srgbClr val="A4A3A4"/>
          </p15:clr>
        </p15:guide>
        <p15:guide id="223" pos="2748" userDrawn="1">
          <p15:clr>
            <a:srgbClr val="A4A3A4"/>
          </p15:clr>
        </p15:guide>
        <p15:guide id="224" pos="2865" userDrawn="1">
          <p15:clr>
            <a:srgbClr val="A4A3A4"/>
          </p15:clr>
        </p15:guide>
        <p15:guide id="225" pos="2869" userDrawn="1">
          <p15:clr>
            <a:srgbClr val="A4A3A4"/>
          </p15:clr>
        </p15:guide>
        <p15:guide id="226" pos="2992" userDrawn="1">
          <p15:clr>
            <a:srgbClr val="A4A3A4"/>
          </p15:clr>
        </p15:guide>
        <p15:guide id="227" pos="2762" userDrawn="1">
          <p15:clr>
            <a:srgbClr val="A4A3A4"/>
          </p15:clr>
        </p15:guide>
        <p15:guide id="228" pos="2877" userDrawn="1">
          <p15:clr>
            <a:srgbClr val="A4A3A4"/>
          </p15:clr>
        </p15:guide>
        <p15:guide id="229" pos="3001" userDrawn="1">
          <p15:clr>
            <a:srgbClr val="A4A3A4"/>
          </p15:clr>
        </p15:guide>
        <p15:guide id="230" pos="3044" userDrawn="1">
          <p15:clr>
            <a:srgbClr val="A4A3A4"/>
          </p15:clr>
        </p15:guide>
        <p15:guide id="231" pos="3056" userDrawn="1">
          <p15:clr>
            <a:srgbClr val="A4A3A4"/>
          </p15:clr>
        </p15:guide>
        <p15:guide id="232" pos="2933" userDrawn="1">
          <p15:clr>
            <a:srgbClr val="A4A3A4"/>
          </p15:clr>
        </p15:guide>
        <p15:guide id="233" pos="3057" userDrawn="1">
          <p15:clr>
            <a:srgbClr val="A4A3A4"/>
          </p15:clr>
        </p15:guide>
        <p15:guide id="234" pos="3061" userDrawn="1">
          <p15:clr>
            <a:srgbClr val="A4A3A4"/>
          </p15:clr>
        </p15:guide>
        <p15:guide id="235" pos="3186" userDrawn="1">
          <p15:clr>
            <a:srgbClr val="A4A3A4"/>
          </p15:clr>
        </p15:guide>
        <p15:guide id="236" pos="2806" userDrawn="1">
          <p15:clr>
            <a:srgbClr val="A4A3A4"/>
          </p15:clr>
        </p15:guide>
        <p15:guide id="237" pos="2798" userDrawn="1">
          <p15:clr>
            <a:srgbClr val="A4A3A4"/>
          </p15:clr>
        </p15:guide>
        <p15:guide id="238" pos="2812" userDrawn="1">
          <p15:clr>
            <a:srgbClr val="A4A3A4"/>
          </p15:clr>
        </p15:guide>
        <p15:guide id="239" pos="2928" userDrawn="1">
          <p15:clr>
            <a:srgbClr val="A4A3A4"/>
          </p15:clr>
        </p15:guide>
        <p15:guide id="240" pos="2904" userDrawn="1">
          <p15:clr>
            <a:srgbClr val="A4A3A4"/>
          </p15:clr>
        </p15:guide>
        <p15:guide id="241" pos="3030" userDrawn="1">
          <p15:clr>
            <a:srgbClr val="A4A3A4"/>
          </p15:clr>
        </p15:guide>
        <p15:guide id="242" pos="3157" userDrawn="1">
          <p15:clr>
            <a:srgbClr val="A4A3A4"/>
          </p15:clr>
        </p15:guide>
        <p15:guide id="243" pos="3150" userDrawn="1">
          <p15:clr>
            <a:srgbClr val="A4A3A4"/>
          </p15:clr>
        </p15:guide>
        <p15:guide id="244" pos="3033" userDrawn="1">
          <p15:clr>
            <a:srgbClr val="A4A3A4"/>
          </p15:clr>
        </p15:guide>
        <p15:guide id="245" pos="3163" userDrawn="1">
          <p15:clr>
            <a:srgbClr val="A4A3A4"/>
          </p15:clr>
        </p15:guide>
        <p15:guide id="246" pos="2783" userDrawn="1">
          <p15:clr>
            <a:srgbClr val="A4A3A4"/>
          </p15:clr>
        </p15:guide>
        <p15:guide id="247" pos="2772" userDrawn="1">
          <p15:clr>
            <a:srgbClr val="A4A3A4"/>
          </p15:clr>
        </p15:guide>
        <p15:guide id="248" pos="3018" userDrawn="1">
          <p15:clr>
            <a:srgbClr val="A4A3A4"/>
          </p15:clr>
        </p15:guide>
        <p15:guide id="249" pos="2905" userDrawn="1">
          <p15:clr>
            <a:srgbClr val="A4A3A4"/>
          </p15:clr>
        </p15:guide>
        <p15:guide id="250" pos="3032" userDrawn="1">
          <p15:clr>
            <a:srgbClr val="A4A3A4"/>
          </p15:clr>
        </p15:guide>
        <p15:guide id="252" orient="horz" pos="2128" userDrawn="1">
          <p15:clr>
            <a:srgbClr val="A4A3A4"/>
          </p15:clr>
        </p15:guide>
        <p15:guide id="253" orient="horz" pos="2261" userDrawn="1">
          <p15:clr>
            <a:srgbClr val="A4A3A4"/>
          </p15:clr>
        </p15:guide>
        <p15:guide id="254" orient="horz" pos="2125" userDrawn="1">
          <p15:clr>
            <a:srgbClr val="A4A3A4"/>
          </p15:clr>
        </p15:guide>
        <p15:guide id="255" orient="horz" pos="2132" userDrawn="1">
          <p15:clr>
            <a:srgbClr val="A4A3A4"/>
          </p15:clr>
        </p15:guide>
        <p15:guide id="256" orient="horz" pos="2205" userDrawn="1">
          <p15:clr>
            <a:srgbClr val="A4A3A4"/>
          </p15:clr>
        </p15:guide>
        <p15:guide id="257" orient="horz" pos="2422" userDrawn="1">
          <p15:clr>
            <a:srgbClr val="A4A3A4"/>
          </p15:clr>
        </p15:guide>
        <p15:guide id="258" orient="horz" pos="2277" userDrawn="1">
          <p15:clr>
            <a:srgbClr val="A4A3A4"/>
          </p15:clr>
        </p15:guide>
        <p15:guide id="259" orient="horz" pos="2131" userDrawn="1">
          <p15:clr>
            <a:srgbClr val="A4A3A4"/>
          </p15:clr>
        </p15:guide>
        <p15:guide id="261" orient="horz" pos="2135" userDrawn="1">
          <p15:clr>
            <a:srgbClr val="A4A3A4"/>
          </p15:clr>
        </p15:guide>
        <p15:guide id="264" orient="horz" pos="2197" userDrawn="1">
          <p15:clr>
            <a:srgbClr val="A4A3A4"/>
          </p15:clr>
        </p15:guide>
        <p15:guide id="265" orient="horz" pos="2417" userDrawn="1">
          <p15:clr>
            <a:srgbClr val="A4A3A4"/>
          </p15:clr>
        </p15:guide>
        <p15:guide id="267" orient="horz" pos="2413" userDrawn="1">
          <p15:clr>
            <a:srgbClr val="A4A3A4"/>
          </p15:clr>
        </p15:guide>
        <p15:guide id="268" orient="horz" pos="2268" userDrawn="1">
          <p15:clr>
            <a:srgbClr val="A4A3A4"/>
          </p15:clr>
        </p15:guide>
        <p15:guide id="269" orient="horz" pos="2204" userDrawn="1">
          <p15:clr>
            <a:srgbClr val="A4A3A4"/>
          </p15:clr>
        </p15:guide>
        <p15:guide id="270" orient="horz" pos="2421" userDrawn="1">
          <p15:clr>
            <a:srgbClr val="A4A3A4"/>
          </p15:clr>
        </p15:guide>
        <p15:guide id="273" orient="horz" pos="2127" userDrawn="1">
          <p15:clr>
            <a:srgbClr val="A4A3A4"/>
          </p15:clr>
        </p15:guide>
        <p15:guide id="274" orient="horz" pos="2134" userDrawn="1">
          <p15:clr>
            <a:srgbClr val="A4A3A4"/>
          </p15:clr>
        </p15:guide>
        <p15:guide id="275" orient="horz" pos="2321" userDrawn="1">
          <p15:clr>
            <a:srgbClr val="A4A3A4"/>
          </p15:clr>
        </p15:guide>
        <p15:guide id="276" orient="horz" pos="2247" userDrawn="1">
          <p15:clr>
            <a:srgbClr val="A4A3A4"/>
          </p15:clr>
        </p15:guide>
        <p15:guide id="277" orient="horz" pos="2113" userDrawn="1">
          <p15:clr>
            <a:srgbClr val="A4A3A4"/>
          </p15:clr>
        </p15:guide>
        <p15:guide id="278" orient="horz" pos="2243" userDrawn="1">
          <p15:clr>
            <a:srgbClr val="A4A3A4"/>
          </p15:clr>
        </p15:guide>
        <p15:guide id="279" orient="horz" pos="2109" userDrawn="1">
          <p15:clr>
            <a:srgbClr val="A4A3A4"/>
          </p15:clr>
        </p15:guide>
        <p15:guide id="280" orient="horz" pos="2251" userDrawn="1">
          <p15:clr>
            <a:srgbClr val="A4A3A4"/>
          </p15:clr>
        </p15:guide>
        <p15:guide id="281" orient="horz" pos="2116" userDrawn="1">
          <p15:clr>
            <a:srgbClr val="A4A3A4"/>
          </p15:clr>
        </p15:guide>
        <p15:guide id="282" orient="horz" pos="2185" userDrawn="1">
          <p15:clr>
            <a:srgbClr val="A4A3A4"/>
          </p15:clr>
        </p15:guide>
        <p15:guide id="283" orient="horz" pos="2400" userDrawn="1">
          <p15:clr>
            <a:srgbClr val="A4A3A4"/>
          </p15:clr>
        </p15:guide>
        <p15:guide id="285" orient="horz" pos="2189" userDrawn="1">
          <p15:clr>
            <a:srgbClr val="A4A3A4"/>
          </p15:clr>
        </p15:guide>
        <p15:guide id="286" orient="horz" pos="2404" userDrawn="1">
          <p15:clr>
            <a:srgbClr val="A4A3A4"/>
          </p15:clr>
        </p15:guide>
        <p15:guide id="287" orient="horz" pos="2260" userDrawn="1">
          <p15:clr>
            <a:srgbClr val="A4A3A4"/>
          </p15:clr>
        </p15:guide>
        <p15:guide id="289" orient="horz" pos="2112" userDrawn="1">
          <p15:clr>
            <a:srgbClr val="A4A3A4"/>
          </p15:clr>
        </p15:guide>
        <p15:guide id="290" orient="horz" pos="2120" userDrawn="1">
          <p15:clr>
            <a:srgbClr val="A4A3A4"/>
          </p15:clr>
        </p15:guide>
        <p15:guide id="291" orient="horz" pos="2316" userDrawn="1">
          <p15:clr>
            <a:srgbClr val="A4A3A4"/>
          </p15:clr>
        </p15:guide>
        <p15:guide id="292" orient="horz" pos="2248" userDrawn="1">
          <p15:clr>
            <a:srgbClr val="A4A3A4"/>
          </p15:clr>
        </p15:guide>
        <p15:guide id="293" orient="horz" pos="2108" userDrawn="1">
          <p15:clr>
            <a:srgbClr val="A4A3A4"/>
          </p15:clr>
        </p15:guide>
        <p15:guide id="294" orient="horz" pos="2184" userDrawn="1">
          <p15:clr>
            <a:srgbClr val="A4A3A4"/>
          </p15:clr>
        </p15:guide>
        <p15:guide id="295" orient="horz" pos="2180" userDrawn="1">
          <p15:clr>
            <a:srgbClr val="A4A3A4"/>
          </p15:clr>
        </p15:guide>
        <p15:guide id="296" orient="horz" pos="2399" userDrawn="1">
          <p15:clr>
            <a:srgbClr val="A4A3A4"/>
          </p15:clr>
        </p15:guide>
        <p15:guide id="297" orient="horz" pos="2255" userDrawn="1">
          <p15:clr>
            <a:srgbClr val="A4A3A4"/>
          </p15:clr>
        </p15:guide>
        <p15:guide id="298" orient="horz" pos="2395" userDrawn="1">
          <p15:clr>
            <a:srgbClr val="A4A3A4"/>
          </p15:clr>
        </p15:guide>
        <p15:guide id="300" orient="horz" pos="2188" userDrawn="1">
          <p15:clr>
            <a:srgbClr val="A4A3A4"/>
          </p15:clr>
        </p15:guide>
        <p15:guide id="302" orient="horz" pos="2259" userDrawn="1">
          <p15:clr>
            <a:srgbClr val="A4A3A4"/>
          </p15:clr>
        </p15:guide>
        <p15:guide id="303" orient="horz" pos="2115" userDrawn="1">
          <p15:clr>
            <a:srgbClr val="A4A3A4"/>
          </p15:clr>
        </p15:guide>
        <p15:guide id="304" orient="horz" pos="2111" userDrawn="1">
          <p15:clr>
            <a:srgbClr val="A4A3A4"/>
          </p15:clr>
        </p15:guide>
        <p15:guide id="305" orient="horz" pos="2119" userDrawn="1">
          <p15:clr>
            <a:srgbClr val="A4A3A4"/>
          </p15:clr>
        </p15:guide>
        <p15:guide id="306" pos="2803" userDrawn="1">
          <p15:clr>
            <a:srgbClr val="A4A3A4"/>
          </p15:clr>
        </p15:guide>
        <p15:guide id="307" pos="2810" userDrawn="1">
          <p15:clr>
            <a:srgbClr val="A4A3A4"/>
          </p15:clr>
        </p15:guide>
        <p15:guide id="308" pos="2932" userDrawn="1">
          <p15:clr>
            <a:srgbClr val="A4A3A4"/>
          </p15:clr>
        </p15:guide>
        <p15:guide id="309" pos="3053" userDrawn="1">
          <p15:clr>
            <a:srgbClr val="A4A3A4"/>
          </p15:clr>
        </p15:guide>
        <p15:guide id="310" pos="2685" userDrawn="1">
          <p15:clr>
            <a:srgbClr val="A4A3A4"/>
          </p15:clr>
        </p15:guide>
        <p15:guide id="311" pos="2678" userDrawn="1">
          <p15:clr>
            <a:srgbClr val="A4A3A4"/>
          </p15:clr>
        </p15:guide>
        <p15:guide id="312" pos="2794" userDrawn="1">
          <p15:clr>
            <a:srgbClr val="A4A3A4"/>
          </p15:clr>
        </p15:guide>
        <p15:guide id="313" pos="2693" userDrawn="1">
          <p15:clr>
            <a:srgbClr val="A4A3A4"/>
          </p15:clr>
        </p15:guide>
        <p15:guide id="314" pos="2780" userDrawn="1">
          <p15:clr>
            <a:srgbClr val="A4A3A4"/>
          </p15:clr>
        </p15:guide>
        <p15:guide id="315" pos="2774" userDrawn="1">
          <p15:clr>
            <a:srgbClr val="A4A3A4"/>
          </p15:clr>
        </p15:guide>
        <p15:guide id="316" pos="3016" userDrawn="1">
          <p15:clr>
            <a:srgbClr val="A4A3A4"/>
          </p15:clr>
        </p15:guide>
        <p15:guide id="317" pos="2787" userDrawn="1">
          <p15:clr>
            <a:srgbClr val="A4A3A4"/>
          </p15:clr>
        </p15:guide>
        <p15:guide id="318" pos="2908" userDrawn="1">
          <p15:clr>
            <a:srgbClr val="A4A3A4"/>
          </p15:clr>
        </p15:guide>
        <p15:guide id="319" pos="2665" userDrawn="1">
          <p15:clr>
            <a:srgbClr val="A4A3A4"/>
          </p15:clr>
        </p15:guide>
        <p15:guide id="320" pos="2655" userDrawn="1">
          <p15:clr>
            <a:srgbClr val="A4A3A4"/>
          </p15:clr>
        </p15:guide>
        <p15:guide id="321" pos="2767" userDrawn="1">
          <p15:clr>
            <a:srgbClr val="A4A3A4"/>
          </p15:clr>
        </p15:guide>
        <p15:guide id="322" pos="2670" userDrawn="1">
          <p15:clr>
            <a:srgbClr val="A4A3A4"/>
          </p15:clr>
        </p15:guide>
        <p15:guide id="323" pos="2828" userDrawn="1">
          <p15:clr>
            <a:srgbClr val="A4A3A4"/>
          </p15:clr>
        </p15:guide>
        <p15:guide id="324" pos="2941" userDrawn="1">
          <p15:clr>
            <a:srgbClr val="A4A3A4"/>
          </p15:clr>
        </p15:guide>
        <p15:guide id="325" pos="2952" userDrawn="1">
          <p15:clr>
            <a:srgbClr val="A4A3A4"/>
          </p15:clr>
        </p15:guide>
        <p15:guide id="326" pos="3074" userDrawn="1">
          <p15:clr>
            <a:srgbClr val="A4A3A4"/>
          </p15:clr>
        </p15:guide>
        <p15:guide id="327" pos="3068" userDrawn="1">
          <p15:clr>
            <a:srgbClr val="A4A3A4"/>
          </p15:clr>
        </p15:guide>
        <p15:guide id="328" pos="2835" userDrawn="1">
          <p15:clr>
            <a:srgbClr val="A4A3A4"/>
          </p15:clr>
        </p15:guide>
        <p15:guide id="329" pos="2959" userDrawn="1">
          <p15:clr>
            <a:srgbClr val="A4A3A4"/>
          </p15:clr>
        </p15:guide>
        <p15:guide id="330" pos="3080" userDrawn="1">
          <p15:clr>
            <a:srgbClr val="A4A3A4"/>
          </p15:clr>
        </p15:guide>
        <p15:guide id="331" pos="2710" userDrawn="1">
          <p15:clr>
            <a:srgbClr val="A4A3A4"/>
          </p15:clr>
        </p15:guide>
        <p15:guide id="332" pos="2826" userDrawn="1">
          <p15:clr>
            <a:srgbClr val="A4A3A4"/>
          </p15:clr>
        </p15:guide>
        <p15:guide id="333" pos="2703" userDrawn="1">
          <p15:clr>
            <a:srgbClr val="A4A3A4"/>
          </p15:clr>
        </p15:guide>
        <p15:guide id="334" pos="2818" userDrawn="1">
          <p15:clr>
            <a:srgbClr val="A4A3A4"/>
          </p15:clr>
        </p15:guide>
        <p15:guide id="335" pos="2827" userDrawn="1">
          <p15:clr>
            <a:srgbClr val="A4A3A4"/>
          </p15:clr>
        </p15:guide>
        <p15:guide id="336" pos="2822" userDrawn="1">
          <p15:clr>
            <a:srgbClr val="A4A3A4"/>
          </p15:clr>
        </p15:guide>
        <p15:guide id="337" pos="2718" userDrawn="1">
          <p15:clr>
            <a:srgbClr val="A4A3A4"/>
          </p15:clr>
        </p15:guide>
        <p15:guide id="338" pos="2830" userDrawn="1">
          <p15:clr>
            <a:srgbClr val="A4A3A4"/>
          </p15:clr>
        </p15:guide>
        <p15:guide id="339" pos="2807" userDrawn="1">
          <p15:clr>
            <a:srgbClr val="A4A3A4"/>
          </p15:clr>
        </p15:guide>
        <p15:guide id="340" pos="2800" userDrawn="1">
          <p15:clr>
            <a:srgbClr val="A4A3A4"/>
          </p15:clr>
        </p15:guide>
        <p15:guide id="341" pos="2814" userDrawn="1">
          <p15:clr>
            <a:srgbClr val="A4A3A4"/>
          </p15:clr>
        </p15:guide>
        <p15:guide id="342" pos="2929" userDrawn="1">
          <p15:clr>
            <a:srgbClr val="A4A3A4"/>
          </p15:clr>
        </p15:guide>
        <p15:guide id="343" pos="2936" userDrawn="1">
          <p15:clr>
            <a:srgbClr val="A4A3A4"/>
          </p15:clr>
        </p15:guide>
        <p15:guide id="344" pos="2690" userDrawn="1">
          <p15:clr>
            <a:srgbClr val="A4A3A4"/>
          </p15:clr>
        </p15:guide>
        <p15:guide id="345" pos="2679" userDrawn="1">
          <p15:clr>
            <a:srgbClr val="A4A3A4"/>
          </p15:clr>
        </p15:guide>
        <p15:guide id="346" pos="2799" userDrawn="1">
          <p15:clr>
            <a:srgbClr val="A4A3A4"/>
          </p15:clr>
        </p15:guide>
        <p15:guide id="347" pos="2697" userDrawn="1">
          <p15:clr>
            <a:srgbClr val="A4A3A4"/>
          </p15:clr>
        </p15:guide>
        <p15:guide id="348" pos="2784" userDrawn="1">
          <p15:clr>
            <a:srgbClr val="A4A3A4"/>
          </p15:clr>
        </p15:guide>
        <p15:guide id="349" pos="2778" userDrawn="1">
          <p15:clr>
            <a:srgbClr val="A4A3A4"/>
          </p15:clr>
        </p15:guide>
        <p15:guide id="350" pos="2667" userDrawn="1">
          <p15:clr>
            <a:srgbClr val="A4A3A4"/>
          </p15:clr>
        </p15:guide>
        <p15:guide id="351" pos="2659" userDrawn="1">
          <p15:clr>
            <a:srgbClr val="A4A3A4"/>
          </p15:clr>
        </p15:guide>
        <p15:guide id="352" pos="2776" userDrawn="1">
          <p15:clr>
            <a:srgbClr val="A4A3A4"/>
          </p15:clr>
        </p15:guide>
        <p15:guide id="353" pos="2674" userDrawn="1">
          <p15:clr>
            <a:srgbClr val="A4A3A4"/>
          </p15:clr>
        </p15:guide>
        <p15:guide id="354" pos="2880" userDrawn="1">
          <p15:clr>
            <a:srgbClr val="A4A3A4"/>
          </p15:clr>
        </p15:guide>
        <p15:guide id="355" pos="2875" userDrawn="1">
          <p15:clr>
            <a:srgbClr val="A4A3A4"/>
          </p15:clr>
        </p15:guide>
        <p15:guide id="356" pos="3009" userDrawn="1">
          <p15:clr>
            <a:srgbClr val="A4A3A4"/>
          </p15:clr>
        </p15:guide>
        <p15:guide id="357" pos="2646" userDrawn="1">
          <p15:clr>
            <a:srgbClr val="A4A3A4"/>
          </p15:clr>
        </p15:guide>
        <p15:guide id="358" pos="2758" userDrawn="1">
          <p15:clr>
            <a:srgbClr val="A4A3A4"/>
          </p15:clr>
        </p15:guide>
        <p15:guide id="359" pos="2639" userDrawn="1">
          <p15:clr>
            <a:srgbClr val="A4A3A4"/>
          </p15:clr>
        </p15:guide>
        <p15:guide id="360" pos="2751" userDrawn="1">
          <p15:clr>
            <a:srgbClr val="A4A3A4"/>
          </p15:clr>
        </p15:guide>
        <p15:guide id="361" pos="2755" userDrawn="1">
          <p15:clr>
            <a:srgbClr val="A4A3A4"/>
          </p15:clr>
        </p15:guide>
        <p15:guide id="362" pos="2651" userDrawn="1">
          <p15:clr>
            <a:srgbClr val="A4A3A4"/>
          </p15:clr>
        </p15:guide>
        <p15:guide id="363" pos="2881" userDrawn="1">
          <p15:clr>
            <a:srgbClr val="A4A3A4"/>
          </p15:clr>
        </p15:guide>
        <p15:guide id="364" pos="3060" userDrawn="1">
          <p15:clr>
            <a:srgbClr val="A4A3A4"/>
          </p15:clr>
        </p15:guide>
        <p15:guide id="365" pos="2694" userDrawn="1">
          <p15:clr>
            <a:srgbClr val="A4A3A4"/>
          </p15:clr>
        </p15:guide>
        <p15:guide id="366" pos="2686" userDrawn="1">
          <p15:clr>
            <a:srgbClr val="A4A3A4"/>
          </p15:clr>
        </p15:guide>
        <p15:guide id="367" pos="2699" userDrawn="1">
          <p15:clr>
            <a:srgbClr val="A4A3A4"/>
          </p15:clr>
        </p15:guide>
        <p15:guide id="368" pos="2811" userDrawn="1">
          <p15:clr>
            <a:srgbClr val="A4A3A4"/>
          </p15:clr>
        </p15:guide>
        <p15:guide id="369" pos="2788" userDrawn="1">
          <p15:clr>
            <a:srgbClr val="A4A3A4"/>
          </p15:clr>
        </p15:guide>
        <p15:guide id="370" pos="2909" userDrawn="1">
          <p15:clr>
            <a:srgbClr val="A4A3A4"/>
          </p15:clr>
        </p15:guide>
        <p15:guide id="371" pos="3024" userDrawn="1">
          <p15:clr>
            <a:srgbClr val="A4A3A4"/>
          </p15:clr>
        </p15:guide>
        <p15:guide id="372" pos="2912" userDrawn="1">
          <p15:clr>
            <a:srgbClr val="A4A3A4"/>
          </p15:clr>
        </p15:guide>
        <p15:guide id="373" pos="3037" userDrawn="1">
          <p15:clr>
            <a:srgbClr val="A4A3A4"/>
          </p15:clr>
        </p15:guide>
        <p15:guide id="374" pos="2671" userDrawn="1">
          <p15:clr>
            <a:srgbClr val="A4A3A4"/>
          </p15:clr>
        </p15:guide>
        <p15:guide id="375" pos="26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11B"/>
    <a:srgbClr val="CBE0F4"/>
    <a:srgbClr val="000000"/>
    <a:srgbClr val="00B1EA"/>
    <a:srgbClr val="17D3AB"/>
    <a:srgbClr val="494C4F"/>
    <a:srgbClr val="E7F0FA"/>
    <a:srgbClr val="FFFFFF"/>
    <a:srgbClr val="EEEEEE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5520" autoAdjust="0"/>
  </p:normalViewPr>
  <p:slideViewPr>
    <p:cSldViewPr snapToGrid="0" snapToObjects="1">
      <p:cViewPr varScale="1">
        <p:scale>
          <a:sx n="76" d="100"/>
          <a:sy n="76" d="100"/>
        </p:scale>
        <p:origin x="778" y="67"/>
      </p:cViewPr>
      <p:guideLst>
        <p:guide orient="horz" pos="4233"/>
        <p:guide orient="horz" pos="3761"/>
        <p:guide orient="horz" pos="926"/>
        <p:guide pos="372"/>
        <p:guide pos="7220"/>
        <p:guide orient="horz" pos="3975"/>
        <p:guide orient="horz" pos="690"/>
        <p:guide pos="308"/>
        <p:guide pos="7124"/>
        <p:guide pos="1032"/>
      </p:guideLst>
    </p:cSldViewPr>
  </p:slideViewPr>
  <p:outlineViewPr>
    <p:cViewPr>
      <p:scale>
        <a:sx n="33" d="100"/>
        <a:sy n="33" d="100"/>
      </p:scale>
      <p:origin x="48" y="8805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napToObjects="1">
      <p:cViewPr>
        <p:scale>
          <a:sx n="110" d="100"/>
          <a:sy n="110" d="100"/>
        </p:scale>
        <p:origin x="1872" y="-204"/>
      </p:cViewPr>
      <p:guideLst>
        <p:guide orient="horz" pos="2412"/>
        <p:guide pos="2920"/>
        <p:guide orient="horz" pos="2267"/>
        <p:guide pos="3041"/>
        <p:guide orient="horz" pos="2408"/>
        <p:guide orient="horz" pos="2264"/>
        <p:guide pos="2913"/>
        <p:guide pos="3034"/>
        <p:guide orient="horz" pos="2491"/>
        <p:guide orient="horz" pos="2342"/>
        <p:guide orient="horz" pos="2487"/>
        <p:guide orient="horz" pos="2337"/>
        <p:guide pos="3045"/>
        <p:guide pos="3173"/>
        <p:guide pos="3038"/>
        <p:guide pos="3166"/>
        <p:guide orient="horz" pos="2416"/>
        <p:guide orient="horz" pos="2271"/>
        <p:guide orient="horz" pos="2495"/>
        <p:guide orient="horz" pos="2346"/>
        <p:guide pos="2927"/>
        <p:guide pos="3048"/>
        <p:guide pos="3054"/>
        <p:guide pos="3179"/>
        <p:guide orient="horz" pos="2335"/>
        <p:guide orient="horz" pos="2195"/>
        <p:guide orient="horz" pos="2331"/>
        <p:guide orient="horz" pos="2192"/>
        <p:guide orient="horz" pos="2339"/>
        <p:guide orient="horz" pos="2199"/>
        <p:guide orient="horz" pos="2415"/>
        <p:guide pos="2796"/>
        <p:guide pos="2915"/>
        <p:guide pos="2790"/>
        <p:guide pos="2907"/>
        <p:guide pos="2919"/>
        <p:guide pos="2911"/>
        <p:guide pos="3036"/>
        <p:guide pos="2804"/>
        <p:guide pos="2921"/>
        <p:guide pos="3046"/>
        <p:guide orient="horz" pos="2270"/>
        <p:guide orient="horz" pos="2411"/>
        <p:guide orient="horz" pos="2494"/>
        <p:guide orient="horz" pos="2345"/>
        <p:guide orient="horz" pos="2490"/>
        <p:guide orient="horz" pos="2341"/>
        <p:guide orient="horz" pos="2419"/>
        <p:guide orient="horz" pos="2274"/>
        <p:guide orient="horz" pos="2498"/>
        <p:guide orient="horz" pos="2349"/>
        <p:guide orient="horz" pos="2338"/>
        <p:guide orient="horz" pos="2198"/>
        <p:guide orient="horz" pos="2334"/>
        <p:guide orient="horz" pos="2343"/>
        <p:guide orient="horz" pos="2202"/>
        <p:guide pos="2896"/>
        <p:guide pos="3017"/>
        <p:guide pos="2889"/>
        <p:guide pos="3010"/>
        <p:guide pos="3020"/>
        <p:guide pos="3149"/>
        <p:guide pos="3014"/>
        <p:guide pos="3142"/>
        <p:guide pos="2903"/>
        <p:guide pos="3022"/>
        <p:guide pos="3029"/>
        <p:guide pos="3155"/>
        <p:guide pos="2775"/>
        <p:guide pos="2891"/>
        <p:guide pos="2766"/>
        <p:guide pos="2883"/>
        <p:guide pos="2895"/>
        <p:guide pos="2888"/>
        <p:guide pos="3012"/>
        <p:guide pos="2782"/>
        <p:guide pos="2897"/>
        <p:guide pos="3021"/>
        <p:guide orient="horz" pos="2407"/>
        <p:guide orient="horz" pos="2263"/>
        <p:guide orient="horz" pos="2486"/>
        <p:guide orient="horz" pos="2191"/>
        <p:guide orient="horz" pos="2414"/>
        <p:guide orient="horz" pos="2410"/>
        <p:guide orient="horz" pos="2266"/>
        <p:guide orient="horz" pos="2493"/>
        <p:guide orient="horz" pos="2344"/>
        <p:guide orient="horz" pos="2489"/>
        <p:guide orient="horz" pos="2340"/>
        <p:guide orient="horz" pos="2418"/>
        <p:guide orient="horz" pos="2273"/>
        <p:guide orient="horz" pos="2497"/>
        <p:guide orient="horz" pos="2348"/>
        <p:guide orient="horz" pos="2194"/>
        <p:guide orient="horz" pos="2201"/>
        <p:guide pos="2947"/>
        <p:guide pos="3069"/>
        <p:guide pos="2940"/>
        <p:guide pos="3062"/>
        <p:guide pos="3073"/>
        <p:guide pos="3202"/>
        <p:guide pos="3066"/>
        <p:guide pos="3195"/>
        <p:guide pos="2953"/>
        <p:guide pos="3076"/>
        <p:guide pos="3082"/>
        <p:guide pos="3208"/>
        <p:guide pos="2823"/>
        <p:guide pos="2943"/>
        <p:guide pos="2816"/>
        <p:guide pos="2935"/>
        <p:guide pos="2945"/>
        <p:guide pos="2939"/>
        <p:guide pos="3064"/>
        <p:guide pos="2831"/>
        <p:guide pos="2948"/>
        <p:guide pos="2924"/>
        <p:guide pos="2917"/>
        <p:guide pos="3049"/>
        <p:guide pos="3177"/>
        <p:guide pos="3042"/>
        <p:guide pos="3170"/>
        <p:guide pos="2931"/>
        <p:guide pos="3052"/>
        <p:guide pos="3058"/>
        <p:guide pos="3183"/>
        <p:guide pos="2802"/>
        <p:guide pos="2791"/>
        <p:guide pos="2923"/>
        <p:guide pos="2916"/>
        <p:guide pos="3040"/>
        <p:guide pos="2808"/>
        <p:guide pos="2925"/>
        <p:guide pos="3050"/>
        <p:guide orient="horz" pos="2394"/>
        <p:guide orient="horz" pos="2250"/>
        <p:guide orient="horz" pos="2390"/>
        <p:guide orient="horz" pos="2246"/>
        <p:guide orient="horz" pos="2472"/>
        <p:guide orient="horz" pos="2324"/>
        <p:guide orient="horz" pos="2468"/>
        <p:guide orient="horz" pos="2319"/>
        <p:guide orient="horz" pos="2398"/>
        <p:guide orient="horz" pos="2254"/>
        <p:guide orient="horz" pos="2476"/>
        <p:guide orient="horz" pos="2328"/>
        <p:guide orient="horz" pos="2318"/>
        <p:guide orient="horz" pos="2179"/>
        <p:guide orient="horz" pos="2314"/>
        <p:guide orient="horz" pos="2175"/>
        <p:guide orient="horz" pos="2322"/>
        <p:guide orient="horz" pos="2182"/>
        <p:guide orient="horz" pos="2397"/>
        <p:guide orient="horz" pos="2253"/>
        <p:guide orient="horz" pos="2393"/>
        <p:guide orient="horz" pos="2249"/>
        <p:guide orient="horz" pos="2475"/>
        <p:guide orient="horz" pos="2327"/>
        <p:guide orient="horz" pos="2471"/>
        <p:guide orient="horz" pos="2323"/>
        <p:guide orient="horz" pos="2401"/>
        <p:guide orient="horz" pos="2257"/>
        <p:guide orient="horz" pos="2480"/>
        <p:guide orient="horz" pos="2320"/>
        <p:guide orient="horz" pos="2317"/>
        <p:guide orient="horz" pos="2178"/>
        <p:guide orient="horz" pos="2325"/>
        <p:guide orient="horz" pos="2186"/>
        <p:guide orient="horz" pos="2389"/>
        <p:guide orient="horz" pos="2174"/>
        <p:guide orient="horz" pos="2396"/>
        <p:guide orient="horz" pos="2252"/>
        <p:guide orient="horz" pos="2392"/>
        <p:guide orient="horz" pos="2474"/>
        <p:guide orient="horz" pos="2326"/>
        <p:guide orient="horz" pos="2256"/>
        <p:guide orient="horz" pos="2479"/>
        <p:guide orient="horz" pos="2330"/>
        <p:guide orient="horz" pos="2181"/>
        <p:guide orient="horz" pos="2177"/>
        <p:guide pos="2900"/>
        <p:guide pos="2893"/>
        <p:guide pos="3013"/>
        <p:guide pos="3026"/>
        <p:guide pos="3153"/>
        <p:guide pos="3146"/>
        <p:guide pos="3159"/>
        <p:guide pos="2779"/>
        <p:guide pos="2770"/>
        <p:guide pos="2899"/>
        <p:guide pos="2892"/>
        <p:guide pos="2786"/>
        <p:guide pos="2901"/>
        <p:guide pos="3028"/>
        <p:guide pos="2876"/>
        <p:guide pos="2996"/>
        <p:guide pos="2871"/>
        <p:guide pos="2990"/>
        <p:guide pos="3000"/>
        <p:guide pos="3127"/>
        <p:guide pos="2994"/>
        <p:guide pos="3121"/>
        <p:guide pos="3002"/>
        <p:guide pos="3008"/>
        <p:guide pos="3134"/>
        <p:guide pos="2756"/>
        <p:guide pos="2872"/>
        <p:guide pos="2748"/>
        <p:guide pos="2865"/>
        <p:guide pos="2869"/>
        <p:guide pos="2992"/>
        <p:guide pos="2762"/>
        <p:guide pos="2877"/>
        <p:guide pos="3001"/>
        <p:guide pos="3044"/>
        <p:guide pos="3056"/>
        <p:guide pos="2933"/>
        <p:guide pos="3057"/>
        <p:guide pos="3061"/>
        <p:guide pos="3186"/>
        <p:guide pos="2806"/>
        <p:guide pos="2798"/>
        <p:guide pos="2812"/>
        <p:guide pos="2928"/>
        <p:guide pos="2904"/>
        <p:guide pos="3030"/>
        <p:guide pos="3157"/>
        <p:guide pos="3150"/>
        <p:guide pos="3033"/>
        <p:guide pos="3163"/>
        <p:guide pos="2783"/>
        <p:guide pos="2772"/>
        <p:guide pos="3018"/>
        <p:guide pos="2905"/>
        <p:guide pos="3032"/>
        <p:guide orient="horz" pos="2128"/>
        <p:guide orient="horz" pos="2261"/>
        <p:guide orient="horz" pos="2125"/>
        <p:guide orient="horz" pos="2132"/>
        <p:guide orient="horz" pos="2205"/>
        <p:guide orient="horz" pos="2422"/>
        <p:guide orient="horz" pos="2277"/>
        <p:guide orient="horz" pos="2131"/>
        <p:guide orient="horz" pos="2135"/>
        <p:guide orient="horz" pos="2197"/>
        <p:guide orient="horz" pos="2417"/>
        <p:guide orient="horz" pos="2413"/>
        <p:guide orient="horz" pos="2268"/>
        <p:guide orient="horz" pos="2204"/>
        <p:guide orient="horz" pos="2421"/>
        <p:guide orient="horz" pos="2127"/>
        <p:guide orient="horz" pos="2134"/>
        <p:guide orient="horz" pos="2321"/>
        <p:guide orient="horz" pos="2247"/>
        <p:guide orient="horz" pos="2113"/>
        <p:guide orient="horz" pos="2243"/>
        <p:guide orient="horz" pos="2109"/>
        <p:guide orient="horz" pos="2251"/>
        <p:guide orient="horz" pos="2116"/>
        <p:guide orient="horz" pos="2185"/>
        <p:guide orient="horz" pos="2400"/>
        <p:guide orient="horz" pos="2189"/>
        <p:guide orient="horz" pos="2404"/>
        <p:guide orient="horz" pos="2260"/>
        <p:guide orient="horz" pos="2112"/>
        <p:guide orient="horz" pos="2120"/>
        <p:guide orient="horz" pos="2316"/>
        <p:guide orient="horz" pos="2248"/>
        <p:guide orient="horz" pos="2108"/>
        <p:guide orient="horz" pos="2184"/>
        <p:guide orient="horz" pos="2180"/>
        <p:guide orient="horz" pos="2399"/>
        <p:guide orient="horz" pos="2255"/>
        <p:guide orient="horz" pos="2395"/>
        <p:guide orient="horz" pos="2188"/>
        <p:guide orient="horz" pos="2259"/>
        <p:guide orient="horz" pos="2115"/>
        <p:guide orient="horz" pos="2111"/>
        <p:guide orient="horz" pos="2119"/>
        <p:guide pos="2803"/>
        <p:guide pos="2810"/>
        <p:guide pos="2932"/>
        <p:guide pos="3053"/>
        <p:guide pos="2685"/>
        <p:guide pos="2678"/>
        <p:guide pos="2794"/>
        <p:guide pos="2693"/>
        <p:guide pos="2780"/>
        <p:guide pos="2774"/>
        <p:guide pos="3016"/>
        <p:guide pos="2787"/>
        <p:guide pos="2908"/>
        <p:guide pos="2665"/>
        <p:guide pos="2655"/>
        <p:guide pos="2767"/>
        <p:guide pos="2670"/>
        <p:guide pos="2828"/>
        <p:guide pos="2941"/>
        <p:guide pos="2952"/>
        <p:guide pos="3074"/>
        <p:guide pos="3068"/>
        <p:guide pos="2835"/>
        <p:guide pos="2959"/>
        <p:guide pos="3080"/>
        <p:guide pos="2710"/>
        <p:guide pos="2826"/>
        <p:guide pos="2703"/>
        <p:guide pos="2818"/>
        <p:guide pos="2827"/>
        <p:guide pos="2822"/>
        <p:guide pos="2718"/>
        <p:guide pos="2830"/>
        <p:guide pos="2807"/>
        <p:guide pos="2800"/>
        <p:guide pos="2814"/>
        <p:guide pos="2929"/>
        <p:guide pos="2936"/>
        <p:guide pos="2690"/>
        <p:guide pos="2679"/>
        <p:guide pos="2799"/>
        <p:guide pos="2697"/>
        <p:guide pos="2784"/>
        <p:guide pos="2778"/>
        <p:guide pos="2667"/>
        <p:guide pos="2659"/>
        <p:guide pos="2776"/>
        <p:guide pos="2674"/>
        <p:guide pos="2880"/>
        <p:guide pos="2875"/>
        <p:guide pos="3009"/>
        <p:guide pos="2646"/>
        <p:guide pos="2758"/>
        <p:guide pos="2639"/>
        <p:guide pos="2751"/>
        <p:guide pos="2755"/>
        <p:guide pos="2651"/>
        <p:guide pos="2881"/>
        <p:guide pos="3060"/>
        <p:guide pos="2694"/>
        <p:guide pos="2686"/>
        <p:guide pos="2699"/>
        <p:guide pos="2811"/>
        <p:guide pos="2788"/>
        <p:guide pos="2909"/>
        <p:guide pos="3024"/>
        <p:guide pos="2912"/>
        <p:guide pos="3037"/>
        <p:guide pos="2671"/>
        <p:guide pos="266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" Type="http://schemas.openxmlformats.org/officeDocument/2006/relationships/slideMaster" Target="slideMasters/slideMaster4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EDCA41-64D6-4D3B-8D48-B58606F4A37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4528E4D9-32E7-45DC-9088-2B10935D0A68}">
      <dgm:prSet phldrT="[Text]"/>
      <dgm:spPr/>
      <dgm:t>
        <a:bodyPr/>
        <a:lstStyle/>
        <a:p>
          <a:r>
            <a:rPr lang="en-US" dirty="0"/>
            <a:t>Complete steps 1 to 18 as in replacement slides shown in Replacement Order 3.0.</a:t>
          </a:r>
          <a:endParaRPr lang="en-IN" dirty="0"/>
        </a:p>
      </dgm:t>
    </dgm:pt>
    <dgm:pt modelId="{AE326FED-73C6-4FE4-834A-15B982C5546D}" type="parTrans" cxnId="{C4387FEF-CA31-4408-B45A-F63D5A730389}">
      <dgm:prSet/>
      <dgm:spPr/>
      <dgm:t>
        <a:bodyPr/>
        <a:lstStyle/>
        <a:p>
          <a:endParaRPr lang="en-IN"/>
        </a:p>
      </dgm:t>
    </dgm:pt>
    <dgm:pt modelId="{519BBC6C-E89D-40DC-B5D3-F897C98A4120}" type="sibTrans" cxnId="{C4387FEF-CA31-4408-B45A-F63D5A730389}">
      <dgm:prSet/>
      <dgm:spPr/>
      <dgm:t>
        <a:bodyPr/>
        <a:lstStyle/>
        <a:p>
          <a:endParaRPr lang="en-IN"/>
        </a:p>
      </dgm:t>
    </dgm:pt>
    <dgm:pt modelId="{754927BA-832C-41DF-922D-5EB78C7D4B45}">
      <dgm:prSet phldrT="[Text]"/>
      <dgm:spPr/>
      <dgm:t>
        <a:bodyPr/>
        <a:lstStyle/>
        <a:p>
          <a:r>
            <a:rPr lang="en-US" dirty="0"/>
            <a:t>18.1 Now click on “…” button in front of “Customer”.</a:t>
          </a:r>
          <a:endParaRPr lang="en-IN" dirty="0"/>
        </a:p>
      </dgm:t>
    </dgm:pt>
    <dgm:pt modelId="{B6FEB0B3-C119-4F0D-94DF-EFB8095D23A8}" type="parTrans" cxnId="{3E328E28-A5C0-4219-8CB6-F6FE3160BCE7}">
      <dgm:prSet/>
      <dgm:spPr/>
      <dgm:t>
        <a:bodyPr/>
        <a:lstStyle/>
        <a:p>
          <a:endParaRPr lang="en-IN"/>
        </a:p>
      </dgm:t>
    </dgm:pt>
    <dgm:pt modelId="{46D9A4E4-1987-485F-817F-E62BD21ABB50}" type="sibTrans" cxnId="{3E328E28-A5C0-4219-8CB6-F6FE3160BCE7}">
      <dgm:prSet/>
      <dgm:spPr/>
      <dgm:t>
        <a:bodyPr/>
        <a:lstStyle/>
        <a:p>
          <a:endParaRPr lang="en-IN"/>
        </a:p>
      </dgm:t>
    </dgm:pt>
    <dgm:pt modelId="{33D212C5-1A07-4FB2-A98F-691A9BA43395}">
      <dgm:prSet phldrT="[Text]"/>
      <dgm:spPr/>
      <dgm:t>
        <a:bodyPr/>
        <a:lstStyle/>
        <a:p>
          <a:r>
            <a:rPr lang="en-US" dirty="0"/>
            <a:t>18.2 Click on “Edit Shipping Address”</a:t>
          </a:r>
          <a:endParaRPr lang="en-IN" dirty="0"/>
        </a:p>
      </dgm:t>
    </dgm:pt>
    <dgm:pt modelId="{238B8592-114B-40A7-8A5F-4A076597611E}" type="parTrans" cxnId="{893FCDB6-7A77-4D74-BF05-7B579517D6E5}">
      <dgm:prSet/>
      <dgm:spPr/>
      <dgm:t>
        <a:bodyPr/>
        <a:lstStyle/>
        <a:p>
          <a:endParaRPr lang="en-IN"/>
        </a:p>
      </dgm:t>
    </dgm:pt>
    <dgm:pt modelId="{00753FD9-4760-4360-A1F4-90BB084FD99F}" type="sibTrans" cxnId="{893FCDB6-7A77-4D74-BF05-7B579517D6E5}">
      <dgm:prSet/>
      <dgm:spPr/>
      <dgm:t>
        <a:bodyPr/>
        <a:lstStyle/>
        <a:p>
          <a:endParaRPr lang="en-IN"/>
        </a:p>
      </dgm:t>
    </dgm:pt>
    <dgm:pt modelId="{20E32AEB-610B-406C-840B-F5F888736A3A}">
      <dgm:prSet phldrT="[Text]"/>
      <dgm:spPr/>
      <dgm:t>
        <a:bodyPr/>
        <a:lstStyle/>
        <a:p>
          <a:r>
            <a:rPr lang="en-US" dirty="0"/>
            <a:t>18.3 Click on “Select Address”</a:t>
          </a:r>
          <a:endParaRPr lang="en-IN" dirty="0"/>
        </a:p>
      </dgm:t>
    </dgm:pt>
    <dgm:pt modelId="{EF1279A1-6C57-4BD0-84FA-922C432B0BF0}" type="parTrans" cxnId="{AFEBA20C-BB6C-4B9C-B2A5-0CFDB747D98C}">
      <dgm:prSet/>
      <dgm:spPr/>
      <dgm:t>
        <a:bodyPr/>
        <a:lstStyle/>
        <a:p>
          <a:endParaRPr lang="en-IN"/>
        </a:p>
      </dgm:t>
    </dgm:pt>
    <dgm:pt modelId="{F102B68E-D1EB-4F90-9FE1-36D5B62BA990}" type="sibTrans" cxnId="{AFEBA20C-BB6C-4B9C-B2A5-0CFDB747D98C}">
      <dgm:prSet/>
      <dgm:spPr/>
      <dgm:t>
        <a:bodyPr/>
        <a:lstStyle/>
        <a:p>
          <a:endParaRPr lang="en-IN"/>
        </a:p>
      </dgm:t>
    </dgm:pt>
    <dgm:pt modelId="{63965929-87E4-4F9B-A480-CCECD4CA6FBF}">
      <dgm:prSet phldrT="[Text]"/>
      <dgm:spPr/>
      <dgm:t>
        <a:bodyPr/>
        <a:lstStyle/>
        <a:p>
          <a:r>
            <a:rPr lang="en-US" dirty="0"/>
            <a:t>18.4 Select the preferred address.</a:t>
          </a:r>
          <a:endParaRPr lang="en-IN" dirty="0"/>
        </a:p>
      </dgm:t>
    </dgm:pt>
    <dgm:pt modelId="{186538E0-25B0-43A3-9606-817B5D60F08A}" type="parTrans" cxnId="{BE9D0973-3111-42DA-96E4-E85A2EAEDE8B}">
      <dgm:prSet/>
      <dgm:spPr/>
      <dgm:t>
        <a:bodyPr/>
        <a:lstStyle/>
        <a:p>
          <a:endParaRPr lang="en-IN"/>
        </a:p>
      </dgm:t>
    </dgm:pt>
    <dgm:pt modelId="{EE74E9B5-2EEE-44AE-A4B9-CB52E4A9A5F4}" type="sibTrans" cxnId="{BE9D0973-3111-42DA-96E4-E85A2EAEDE8B}">
      <dgm:prSet/>
      <dgm:spPr/>
      <dgm:t>
        <a:bodyPr/>
        <a:lstStyle/>
        <a:p>
          <a:endParaRPr lang="en-IN"/>
        </a:p>
      </dgm:t>
    </dgm:pt>
    <dgm:pt modelId="{02ABB68F-0741-45D5-9C6E-9C16B492213A}">
      <dgm:prSet phldrT="[Text]"/>
      <dgm:spPr/>
      <dgm:t>
        <a:bodyPr/>
        <a:lstStyle/>
        <a:p>
          <a:r>
            <a:rPr lang="en-US" dirty="0"/>
            <a:t>18.5 Click on “Done”</a:t>
          </a:r>
          <a:endParaRPr lang="en-IN" dirty="0"/>
        </a:p>
      </dgm:t>
    </dgm:pt>
    <dgm:pt modelId="{2146FFF4-EABB-4FA2-A0E6-15680ABABC47}" type="parTrans" cxnId="{5D87C470-9425-4D02-9E66-CEE2A5A8046F}">
      <dgm:prSet/>
      <dgm:spPr/>
      <dgm:t>
        <a:bodyPr/>
        <a:lstStyle/>
        <a:p>
          <a:endParaRPr lang="en-IN"/>
        </a:p>
      </dgm:t>
    </dgm:pt>
    <dgm:pt modelId="{259BB44B-D6EF-43E6-BA04-4F6E967F4D80}" type="sibTrans" cxnId="{5D87C470-9425-4D02-9E66-CEE2A5A8046F}">
      <dgm:prSet/>
      <dgm:spPr/>
      <dgm:t>
        <a:bodyPr/>
        <a:lstStyle/>
        <a:p>
          <a:endParaRPr lang="en-IN"/>
        </a:p>
      </dgm:t>
    </dgm:pt>
    <dgm:pt modelId="{C4A6926E-5F3D-4A81-ADAA-E7D4406FA9CD}">
      <dgm:prSet phldrT="[Text]"/>
      <dgm:spPr/>
      <dgm:t>
        <a:bodyPr/>
        <a:lstStyle/>
        <a:p>
          <a:r>
            <a:rPr lang="en-US" dirty="0"/>
            <a:t>Continue with steps after no. 18 as it is from Replacement Order 3.0</a:t>
          </a:r>
          <a:endParaRPr lang="en-IN" dirty="0"/>
        </a:p>
      </dgm:t>
    </dgm:pt>
    <dgm:pt modelId="{108E6A01-34DE-4485-B849-3DA1624113C6}" type="parTrans" cxnId="{D6CED385-B0AE-4945-86EB-1C1CBD6B8635}">
      <dgm:prSet/>
      <dgm:spPr/>
      <dgm:t>
        <a:bodyPr/>
        <a:lstStyle/>
        <a:p>
          <a:endParaRPr lang="en-IN"/>
        </a:p>
      </dgm:t>
    </dgm:pt>
    <dgm:pt modelId="{AF3684E2-0174-4757-92B4-A225193F6040}" type="sibTrans" cxnId="{D6CED385-B0AE-4945-86EB-1C1CBD6B8635}">
      <dgm:prSet/>
      <dgm:spPr/>
      <dgm:t>
        <a:bodyPr/>
        <a:lstStyle/>
        <a:p>
          <a:endParaRPr lang="en-IN"/>
        </a:p>
      </dgm:t>
    </dgm:pt>
    <dgm:pt modelId="{E34B8EA2-D977-4D3C-911C-AE6657530D82}" type="pres">
      <dgm:prSet presAssocID="{0FEDCA41-64D6-4D3B-8D48-B58606F4A371}" presName="CompostProcess" presStyleCnt="0">
        <dgm:presLayoutVars>
          <dgm:dir/>
          <dgm:resizeHandles val="exact"/>
        </dgm:presLayoutVars>
      </dgm:prSet>
      <dgm:spPr/>
    </dgm:pt>
    <dgm:pt modelId="{7B06CACD-E445-4813-8668-2B558126ABE0}" type="pres">
      <dgm:prSet presAssocID="{0FEDCA41-64D6-4D3B-8D48-B58606F4A371}" presName="arrow" presStyleLbl="bgShp" presStyleIdx="0" presStyleCnt="1"/>
      <dgm:spPr/>
    </dgm:pt>
    <dgm:pt modelId="{E3EE46E6-61F2-4D4C-A1B1-21D7FCFFAE85}" type="pres">
      <dgm:prSet presAssocID="{0FEDCA41-64D6-4D3B-8D48-B58606F4A371}" presName="linearProcess" presStyleCnt="0"/>
      <dgm:spPr/>
    </dgm:pt>
    <dgm:pt modelId="{8DC1043F-3049-41FC-A760-F3C233C2EFF1}" type="pres">
      <dgm:prSet presAssocID="{4528E4D9-32E7-45DC-9088-2B10935D0A68}" presName="textNode" presStyleLbl="node1" presStyleIdx="0" presStyleCnt="7">
        <dgm:presLayoutVars>
          <dgm:bulletEnabled val="1"/>
        </dgm:presLayoutVars>
      </dgm:prSet>
      <dgm:spPr/>
    </dgm:pt>
    <dgm:pt modelId="{6FDE2F0E-2E63-4D45-B1D6-9CAF3AD86D11}" type="pres">
      <dgm:prSet presAssocID="{519BBC6C-E89D-40DC-B5D3-F897C98A4120}" presName="sibTrans" presStyleCnt="0"/>
      <dgm:spPr/>
    </dgm:pt>
    <dgm:pt modelId="{B6857139-D18D-4B24-AD02-60273A6F2375}" type="pres">
      <dgm:prSet presAssocID="{754927BA-832C-41DF-922D-5EB78C7D4B45}" presName="textNode" presStyleLbl="node1" presStyleIdx="1" presStyleCnt="7">
        <dgm:presLayoutVars>
          <dgm:bulletEnabled val="1"/>
        </dgm:presLayoutVars>
      </dgm:prSet>
      <dgm:spPr/>
    </dgm:pt>
    <dgm:pt modelId="{3D4E3995-09AC-46F3-987F-CE26C3A8B92B}" type="pres">
      <dgm:prSet presAssocID="{46D9A4E4-1987-485F-817F-E62BD21ABB50}" presName="sibTrans" presStyleCnt="0"/>
      <dgm:spPr/>
    </dgm:pt>
    <dgm:pt modelId="{DAA488B3-FC31-48F4-8EC4-AE813E73AFB5}" type="pres">
      <dgm:prSet presAssocID="{33D212C5-1A07-4FB2-A98F-691A9BA43395}" presName="textNode" presStyleLbl="node1" presStyleIdx="2" presStyleCnt="7">
        <dgm:presLayoutVars>
          <dgm:bulletEnabled val="1"/>
        </dgm:presLayoutVars>
      </dgm:prSet>
      <dgm:spPr/>
    </dgm:pt>
    <dgm:pt modelId="{0E2A6B12-1597-4F9D-BE1F-383E232C0E22}" type="pres">
      <dgm:prSet presAssocID="{00753FD9-4760-4360-A1F4-90BB084FD99F}" presName="sibTrans" presStyleCnt="0"/>
      <dgm:spPr/>
    </dgm:pt>
    <dgm:pt modelId="{01AFC56B-D902-42AF-ADD9-E01CFE757791}" type="pres">
      <dgm:prSet presAssocID="{20E32AEB-610B-406C-840B-F5F888736A3A}" presName="textNode" presStyleLbl="node1" presStyleIdx="3" presStyleCnt="7">
        <dgm:presLayoutVars>
          <dgm:bulletEnabled val="1"/>
        </dgm:presLayoutVars>
      </dgm:prSet>
      <dgm:spPr/>
    </dgm:pt>
    <dgm:pt modelId="{69689862-2037-4A07-85A0-633636AFCC3D}" type="pres">
      <dgm:prSet presAssocID="{F102B68E-D1EB-4F90-9FE1-36D5B62BA990}" presName="sibTrans" presStyleCnt="0"/>
      <dgm:spPr/>
    </dgm:pt>
    <dgm:pt modelId="{A52269C1-48E0-4481-BAED-615DB9A7C59E}" type="pres">
      <dgm:prSet presAssocID="{63965929-87E4-4F9B-A480-CCECD4CA6FBF}" presName="textNode" presStyleLbl="node1" presStyleIdx="4" presStyleCnt="7">
        <dgm:presLayoutVars>
          <dgm:bulletEnabled val="1"/>
        </dgm:presLayoutVars>
      </dgm:prSet>
      <dgm:spPr/>
    </dgm:pt>
    <dgm:pt modelId="{F4B91788-84F3-451E-9F99-17C9A037C97F}" type="pres">
      <dgm:prSet presAssocID="{EE74E9B5-2EEE-44AE-A4B9-CB52E4A9A5F4}" presName="sibTrans" presStyleCnt="0"/>
      <dgm:spPr/>
    </dgm:pt>
    <dgm:pt modelId="{F6A8816D-7B35-47F1-B580-C6A154D7D80B}" type="pres">
      <dgm:prSet presAssocID="{02ABB68F-0741-45D5-9C6E-9C16B492213A}" presName="textNode" presStyleLbl="node1" presStyleIdx="5" presStyleCnt="7">
        <dgm:presLayoutVars>
          <dgm:bulletEnabled val="1"/>
        </dgm:presLayoutVars>
      </dgm:prSet>
      <dgm:spPr/>
    </dgm:pt>
    <dgm:pt modelId="{D0AAA908-7C44-405A-BD9C-DF0EF4857511}" type="pres">
      <dgm:prSet presAssocID="{259BB44B-D6EF-43E6-BA04-4F6E967F4D80}" presName="sibTrans" presStyleCnt="0"/>
      <dgm:spPr/>
    </dgm:pt>
    <dgm:pt modelId="{120D59A6-EC6F-48ED-AFB3-7B8C3332FFBD}" type="pres">
      <dgm:prSet presAssocID="{C4A6926E-5F3D-4A81-ADAA-E7D4406FA9CD}" presName="textNode" presStyleLbl="node1" presStyleIdx="6" presStyleCnt="7">
        <dgm:presLayoutVars>
          <dgm:bulletEnabled val="1"/>
        </dgm:presLayoutVars>
      </dgm:prSet>
      <dgm:spPr/>
    </dgm:pt>
  </dgm:ptLst>
  <dgm:cxnLst>
    <dgm:cxn modelId="{58731C03-93EA-4070-8CC0-B02B45769E0B}" type="presOf" srcId="{0FEDCA41-64D6-4D3B-8D48-B58606F4A371}" destId="{E34B8EA2-D977-4D3C-911C-AE6657530D82}" srcOrd="0" destOrd="0" presId="urn:microsoft.com/office/officeart/2005/8/layout/hProcess9"/>
    <dgm:cxn modelId="{AFEBA20C-BB6C-4B9C-B2A5-0CFDB747D98C}" srcId="{0FEDCA41-64D6-4D3B-8D48-B58606F4A371}" destId="{20E32AEB-610B-406C-840B-F5F888736A3A}" srcOrd="3" destOrd="0" parTransId="{EF1279A1-6C57-4BD0-84FA-922C432B0BF0}" sibTransId="{F102B68E-D1EB-4F90-9FE1-36D5B62BA990}"/>
    <dgm:cxn modelId="{3E328E28-A5C0-4219-8CB6-F6FE3160BCE7}" srcId="{0FEDCA41-64D6-4D3B-8D48-B58606F4A371}" destId="{754927BA-832C-41DF-922D-5EB78C7D4B45}" srcOrd="1" destOrd="0" parTransId="{B6FEB0B3-C119-4F0D-94DF-EFB8095D23A8}" sibTransId="{46D9A4E4-1987-485F-817F-E62BD21ABB50}"/>
    <dgm:cxn modelId="{F9AF882B-96C1-4186-BF90-EF74D44082EB}" type="presOf" srcId="{C4A6926E-5F3D-4A81-ADAA-E7D4406FA9CD}" destId="{120D59A6-EC6F-48ED-AFB3-7B8C3332FFBD}" srcOrd="0" destOrd="0" presId="urn:microsoft.com/office/officeart/2005/8/layout/hProcess9"/>
    <dgm:cxn modelId="{5A43C061-8041-47E5-893F-8BC20E8F647A}" type="presOf" srcId="{63965929-87E4-4F9B-A480-CCECD4CA6FBF}" destId="{A52269C1-48E0-4481-BAED-615DB9A7C59E}" srcOrd="0" destOrd="0" presId="urn:microsoft.com/office/officeart/2005/8/layout/hProcess9"/>
    <dgm:cxn modelId="{83C5BF62-29F1-4577-9BA1-4A437E0D1F67}" type="presOf" srcId="{02ABB68F-0741-45D5-9C6E-9C16B492213A}" destId="{F6A8816D-7B35-47F1-B580-C6A154D7D80B}" srcOrd="0" destOrd="0" presId="urn:microsoft.com/office/officeart/2005/8/layout/hProcess9"/>
    <dgm:cxn modelId="{B97FC364-0C2B-47F5-BACD-C97682927D5F}" type="presOf" srcId="{754927BA-832C-41DF-922D-5EB78C7D4B45}" destId="{B6857139-D18D-4B24-AD02-60273A6F2375}" srcOrd="0" destOrd="0" presId="urn:microsoft.com/office/officeart/2005/8/layout/hProcess9"/>
    <dgm:cxn modelId="{63480768-FA96-49B5-8DA9-1EC739BC4D8C}" type="presOf" srcId="{33D212C5-1A07-4FB2-A98F-691A9BA43395}" destId="{DAA488B3-FC31-48F4-8EC4-AE813E73AFB5}" srcOrd="0" destOrd="0" presId="urn:microsoft.com/office/officeart/2005/8/layout/hProcess9"/>
    <dgm:cxn modelId="{5D87C470-9425-4D02-9E66-CEE2A5A8046F}" srcId="{0FEDCA41-64D6-4D3B-8D48-B58606F4A371}" destId="{02ABB68F-0741-45D5-9C6E-9C16B492213A}" srcOrd="5" destOrd="0" parTransId="{2146FFF4-EABB-4FA2-A0E6-15680ABABC47}" sibTransId="{259BB44B-D6EF-43E6-BA04-4F6E967F4D80}"/>
    <dgm:cxn modelId="{BE9D0973-3111-42DA-96E4-E85A2EAEDE8B}" srcId="{0FEDCA41-64D6-4D3B-8D48-B58606F4A371}" destId="{63965929-87E4-4F9B-A480-CCECD4CA6FBF}" srcOrd="4" destOrd="0" parTransId="{186538E0-25B0-43A3-9606-817B5D60F08A}" sibTransId="{EE74E9B5-2EEE-44AE-A4B9-CB52E4A9A5F4}"/>
    <dgm:cxn modelId="{D6CED385-B0AE-4945-86EB-1C1CBD6B8635}" srcId="{0FEDCA41-64D6-4D3B-8D48-B58606F4A371}" destId="{C4A6926E-5F3D-4A81-ADAA-E7D4406FA9CD}" srcOrd="6" destOrd="0" parTransId="{108E6A01-34DE-4485-B849-3DA1624113C6}" sibTransId="{AF3684E2-0174-4757-92B4-A225193F6040}"/>
    <dgm:cxn modelId="{893FCDB6-7A77-4D74-BF05-7B579517D6E5}" srcId="{0FEDCA41-64D6-4D3B-8D48-B58606F4A371}" destId="{33D212C5-1A07-4FB2-A98F-691A9BA43395}" srcOrd="2" destOrd="0" parTransId="{238B8592-114B-40A7-8A5F-4A076597611E}" sibTransId="{00753FD9-4760-4360-A1F4-90BB084FD99F}"/>
    <dgm:cxn modelId="{8D700AD6-A6F2-4305-803D-BD8B7FD4DEA3}" type="presOf" srcId="{4528E4D9-32E7-45DC-9088-2B10935D0A68}" destId="{8DC1043F-3049-41FC-A760-F3C233C2EFF1}" srcOrd="0" destOrd="0" presId="urn:microsoft.com/office/officeart/2005/8/layout/hProcess9"/>
    <dgm:cxn modelId="{C4387FEF-CA31-4408-B45A-F63D5A730389}" srcId="{0FEDCA41-64D6-4D3B-8D48-B58606F4A371}" destId="{4528E4D9-32E7-45DC-9088-2B10935D0A68}" srcOrd="0" destOrd="0" parTransId="{AE326FED-73C6-4FE4-834A-15B982C5546D}" sibTransId="{519BBC6C-E89D-40DC-B5D3-F897C98A4120}"/>
    <dgm:cxn modelId="{BDFF87FB-0246-409A-8460-426477BBC656}" type="presOf" srcId="{20E32AEB-610B-406C-840B-F5F888736A3A}" destId="{01AFC56B-D902-42AF-ADD9-E01CFE757791}" srcOrd="0" destOrd="0" presId="urn:microsoft.com/office/officeart/2005/8/layout/hProcess9"/>
    <dgm:cxn modelId="{140E28A1-B156-4424-BA9F-8B066F3DBFE5}" type="presParOf" srcId="{E34B8EA2-D977-4D3C-911C-AE6657530D82}" destId="{7B06CACD-E445-4813-8668-2B558126ABE0}" srcOrd="0" destOrd="0" presId="urn:microsoft.com/office/officeart/2005/8/layout/hProcess9"/>
    <dgm:cxn modelId="{78DA4606-692C-40A6-9C3A-38A132B673B2}" type="presParOf" srcId="{E34B8EA2-D977-4D3C-911C-AE6657530D82}" destId="{E3EE46E6-61F2-4D4C-A1B1-21D7FCFFAE85}" srcOrd="1" destOrd="0" presId="urn:microsoft.com/office/officeart/2005/8/layout/hProcess9"/>
    <dgm:cxn modelId="{DBEEF8FD-AF9C-4D31-94D0-124D81593666}" type="presParOf" srcId="{E3EE46E6-61F2-4D4C-A1B1-21D7FCFFAE85}" destId="{8DC1043F-3049-41FC-A760-F3C233C2EFF1}" srcOrd="0" destOrd="0" presId="urn:microsoft.com/office/officeart/2005/8/layout/hProcess9"/>
    <dgm:cxn modelId="{16936FD9-7BFF-40A8-B683-88ECAAFFC9BF}" type="presParOf" srcId="{E3EE46E6-61F2-4D4C-A1B1-21D7FCFFAE85}" destId="{6FDE2F0E-2E63-4D45-B1D6-9CAF3AD86D11}" srcOrd="1" destOrd="0" presId="urn:microsoft.com/office/officeart/2005/8/layout/hProcess9"/>
    <dgm:cxn modelId="{D120288D-B235-48D8-A2DC-329B4CD60B4D}" type="presParOf" srcId="{E3EE46E6-61F2-4D4C-A1B1-21D7FCFFAE85}" destId="{B6857139-D18D-4B24-AD02-60273A6F2375}" srcOrd="2" destOrd="0" presId="urn:microsoft.com/office/officeart/2005/8/layout/hProcess9"/>
    <dgm:cxn modelId="{F727D978-03EB-4AC6-B58A-FFAB20560573}" type="presParOf" srcId="{E3EE46E6-61F2-4D4C-A1B1-21D7FCFFAE85}" destId="{3D4E3995-09AC-46F3-987F-CE26C3A8B92B}" srcOrd="3" destOrd="0" presId="urn:microsoft.com/office/officeart/2005/8/layout/hProcess9"/>
    <dgm:cxn modelId="{152C531D-7D27-454D-82B8-0E7305E2F9EC}" type="presParOf" srcId="{E3EE46E6-61F2-4D4C-A1B1-21D7FCFFAE85}" destId="{DAA488B3-FC31-48F4-8EC4-AE813E73AFB5}" srcOrd="4" destOrd="0" presId="urn:microsoft.com/office/officeart/2005/8/layout/hProcess9"/>
    <dgm:cxn modelId="{3BA31464-47B4-46FB-A0E0-92D19B530BE3}" type="presParOf" srcId="{E3EE46E6-61F2-4D4C-A1B1-21D7FCFFAE85}" destId="{0E2A6B12-1597-4F9D-BE1F-383E232C0E22}" srcOrd="5" destOrd="0" presId="urn:microsoft.com/office/officeart/2005/8/layout/hProcess9"/>
    <dgm:cxn modelId="{7B1BD66B-47CF-42CB-89E8-8A36E1DAA889}" type="presParOf" srcId="{E3EE46E6-61F2-4D4C-A1B1-21D7FCFFAE85}" destId="{01AFC56B-D902-42AF-ADD9-E01CFE757791}" srcOrd="6" destOrd="0" presId="urn:microsoft.com/office/officeart/2005/8/layout/hProcess9"/>
    <dgm:cxn modelId="{392A8FEE-A0D4-4681-9E39-DD9397ABE769}" type="presParOf" srcId="{E3EE46E6-61F2-4D4C-A1B1-21D7FCFFAE85}" destId="{69689862-2037-4A07-85A0-633636AFCC3D}" srcOrd="7" destOrd="0" presId="urn:microsoft.com/office/officeart/2005/8/layout/hProcess9"/>
    <dgm:cxn modelId="{CECBC1A3-C142-4B81-9BA6-A37BF7E98678}" type="presParOf" srcId="{E3EE46E6-61F2-4D4C-A1B1-21D7FCFFAE85}" destId="{A52269C1-48E0-4481-BAED-615DB9A7C59E}" srcOrd="8" destOrd="0" presId="urn:microsoft.com/office/officeart/2005/8/layout/hProcess9"/>
    <dgm:cxn modelId="{3285573B-2FE6-4F64-8D99-49039E1F85E7}" type="presParOf" srcId="{E3EE46E6-61F2-4D4C-A1B1-21D7FCFFAE85}" destId="{F4B91788-84F3-451E-9F99-17C9A037C97F}" srcOrd="9" destOrd="0" presId="urn:microsoft.com/office/officeart/2005/8/layout/hProcess9"/>
    <dgm:cxn modelId="{16312F30-76D1-4E0E-A2BB-AF06921E132A}" type="presParOf" srcId="{E3EE46E6-61F2-4D4C-A1B1-21D7FCFFAE85}" destId="{F6A8816D-7B35-47F1-B580-C6A154D7D80B}" srcOrd="10" destOrd="0" presId="urn:microsoft.com/office/officeart/2005/8/layout/hProcess9"/>
    <dgm:cxn modelId="{7C686E59-0609-46C5-97DF-E3F80D90298D}" type="presParOf" srcId="{E3EE46E6-61F2-4D4C-A1B1-21D7FCFFAE85}" destId="{D0AAA908-7C44-405A-BD9C-DF0EF4857511}" srcOrd="11" destOrd="0" presId="urn:microsoft.com/office/officeart/2005/8/layout/hProcess9"/>
    <dgm:cxn modelId="{764B8778-31CF-4BA4-AADD-CF24DCBD958E}" type="presParOf" srcId="{E3EE46E6-61F2-4D4C-A1B1-21D7FCFFAE85}" destId="{120D59A6-EC6F-48ED-AFB3-7B8C3332FFBD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8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800" dirty="0"/>
            <a:t>Click on “Replacement”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AABE247B-AD6E-459C-884B-8709BD7319F2}">
      <dgm:prSet phldrT="[Text]" custT="1"/>
      <dgm:spPr/>
      <dgm:t>
        <a:bodyPr/>
        <a:lstStyle/>
        <a:p>
          <a:r>
            <a:rPr lang="en-IN" sz="2800" dirty="0"/>
            <a:t>Get all replaced orders</a:t>
          </a:r>
        </a:p>
      </dgm:t>
    </dgm:pt>
    <dgm:pt modelId="{3BD913E9-1395-4B93-A86D-938943BD3883}" type="parTrans" cxnId="{7F6A73FD-FB87-4993-B2AF-5D3BA5A7E62B}">
      <dgm:prSet/>
      <dgm:spPr/>
      <dgm:t>
        <a:bodyPr/>
        <a:lstStyle/>
        <a:p>
          <a:endParaRPr lang="en-IN" sz="1600"/>
        </a:p>
      </dgm:t>
    </dgm:pt>
    <dgm:pt modelId="{AB52B959-6F47-48A5-8F50-27103BE1384C}" type="sibTrans" cxnId="{7F6A73FD-FB87-4993-B2AF-5D3BA5A7E62B}">
      <dgm:prSet/>
      <dgm:spPr/>
      <dgm:t>
        <a:bodyPr/>
        <a:lstStyle/>
        <a:p>
          <a:endParaRPr lang="en-IN" sz="1600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3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3">
        <dgm:presLayoutVars>
          <dgm:bulletEnabled val="1"/>
        </dgm:presLayoutVars>
      </dgm:prSet>
      <dgm:spPr/>
    </dgm:pt>
    <dgm:pt modelId="{A96C3C7A-8488-4DBD-8C54-1C3F3ED22D40}" type="pres">
      <dgm:prSet presAssocID="{A962B8F1-BA58-4837-95A7-500622AD01EF}" presName="sibTrans" presStyleCnt="0"/>
      <dgm:spPr/>
    </dgm:pt>
    <dgm:pt modelId="{1799F81F-928F-4311-AFEB-7375770BCC8C}" type="pres">
      <dgm:prSet presAssocID="{AABE247B-AD6E-459C-884B-8709BD7319F2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96EB1CEA-43A7-4584-A0F3-F2C05570179A}" type="presOf" srcId="{AABE247B-AD6E-459C-884B-8709BD7319F2}" destId="{1799F81F-928F-4311-AFEB-7375770BCC8C}" srcOrd="0" destOrd="0" presId="urn:microsoft.com/office/officeart/2005/8/layout/hProcess9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7F6A73FD-FB87-4993-B2AF-5D3BA5A7E62B}" srcId="{21375CC3-A8C9-4B30-AAD0-3487DE0D5D45}" destId="{AABE247B-AD6E-459C-884B-8709BD7319F2}" srcOrd="2" destOrd="0" parTransId="{3BD913E9-1395-4B93-A86D-938943BD3883}" sibTransId="{AB52B959-6F47-48A5-8F50-27103BE1384C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C7CA1E8E-BFC4-4CF5-82DB-D42E9B4D9F80}" type="presParOf" srcId="{1FE6110A-65F6-420B-8531-CA5FA06CFFC8}" destId="{A96C3C7A-8488-4DBD-8C54-1C3F3ED22D40}" srcOrd="3" destOrd="0" presId="urn:microsoft.com/office/officeart/2005/8/layout/hProcess9"/>
    <dgm:cxn modelId="{92ABC8F0-3615-45E6-9FB8-66AE1395C25E}" type="presParOf" srcId="{1FE6110A-65F6-420B-8531-CA5FA06CFFC8}" destId="{1799F81F-928F-4311-AFEB-7375770BCC8C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4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000" dirty="0"/>
            <a:t>Select Order that is to be cancelled. e.g. #1013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AABE247B-AD6E-459C-884B-8709BD7319F2}">
      <dgm:prSet phldrT="[Text]" custT="1"/>
      <dgm:spPr/>
      <dgm:t>
        <a:bodyPr/>
        <a:lstStyle/>
        <a:p>
          <a:r>
            <a:rPr lang="en-IN" sz="2400" dirty="0"/>
            <a:t>Click on “More actions”</a:t>
          </a:r>
        </a:p>
      </dgm:t>
    </dgm:pt>
    <dgm:pt modelId="{3BD913E9-1395-4B93-A86D-938943BD3883}" type="parTrans" cxnId="{7F6A73FD-FB87-4993-B2AF-5D3BA5A7E62B}">
      <dgm:prSet/>
      <dgm:spPr/>
      <dgm:t>
        <a:bodyPr/>
        <a:lstStyle/>
        <a:p>
          <a:endParaRPr lang="en-IN" sz="1600"/>
        </a:p>
      </dgm:t>
    </dgm:pt>
    <dgm:pt modelId="{AB52B959-6F47-48A5-8F50-27103BE1384C}" type="sibTrans" cxnId="{7F6A73FD-FB87-4993-B2AF-5D3BA5A7E62B}">
      <dgm:prSet/>
      <dgm:spPr/>
      <dgm:t>
        <a:bodyPr/>
        <a:lstStyle/>
        <a:p>
          <a:endParaRPr lang="en-IN" sz="1600"/>
        </a:p>
      </dgm:t>
    </dgm:pt>
    <dgm:pt modelId="{5BF82E55-9150-4208-87C1-17326BA2B021}">
      <dgm:prSet phldrT="[Text]" custT="1"/>
      <dgm:spPr/>
      <dgm:t>
        <a:bodyPr/>
        <a:lstStyle/>
        <a:p>
          <a:r>
            <a:rPr lang="en-IN" sz="2400" dirty="0"/>
            <a:t>Click on “Cancel order”</a:t>
          </a:r>
        </a:p>
      </dgm:t>
    </dgm:pt>
    <dgm:pt modelId="{67D8AA5E-5673-4DB1-8540-B6167F7BA6F3}" type="parTrans" cxnId="{6F50D846-AE91-47FC-AA71-3DDBED27E463}">
      <dgm:prSet/>
      <dgm:spPr/>
      <dgm:t>
        <a:bodyPr/>
        <a:lstStyle/>
        <a:p>
          <a:endParaRPr lang="en-IN"/>
        </a:p>
      </dgm:t>
    </dgm:pt>
    <dgm:pt modelId="{F56E41DB-767A-499A-B2CA-3EB2FA348584}" type="sibTrans" cxnId="{6F50D846-AE91-47FC-AA71-3DDBED27E463}">
      <dgm:prSet/>
      <dgm:spPr/>
      <dgm:t>
        <a:bodyPr/>
        <a:lstStyle/>
        <a:p>
          <a:endParaRPr lang="en-IN"/>
        </a:p>
      </dgm:t>
    </dgm:pt>
    <dgm:pt modelId="{19D50A82-6495-48F7-ADA6-975FB9E47076}">
      <dgm:prSet phldrT="[Text]" custT="1"/>
      <dgm:spPr/>
      <dgm:t>
        <a:bodyPr/>
        <a:lstStyle/>
        <a:p>
          <a:r>
            <a:rPr lang="en-IN" sz="2400" dirty="0"/>
            <a:t>Select Reason</a:t>
          </a:r>
        </a:p>
      </dgm:t>
    </dgm:pt>
    <dgm:pt modelId="{2339ABB4-2BE2-46F6-B0EB-430731C176A1}" type="parTrans" cxnId="{F7C311B2-149F-4065-8F62-2EF162F69F50}">
      <dgm:prSet/>
      <dgm:spPr/>
      <dgm:t>
        <a:bodyPr/>
        <a:lstStyle/>
        <a:p>
          <a:endParaRPr lang="en-IN"/>
        </a:p>
      </dgm:t>
    </dgm:pt>
    <dgm:pt modelId="{C21AD544-3458-48ED-AD00-5B539442D221}" type="sibTrans" cxnId="{F7C311B2-149F-4065-8F62-2EF162F69F50}">
      <dgm:prSet/>
      <dgm:spPr/>
      <dgm:t>
        <a:bodyPr/>
        <a:lstStyle/>
        <a:p>
          <a:endParaRPr lang="en-IN"/>
        </a:p>
      </dgm:t>
    </dgm:pt>
    <dgm:pt modelId="{50B76BD8-E036-424E-B395-592326B3FEE2}">
      <dgm:prSet phldrT="[Text]" custT="1"/>
      <dgm:spPr/>
      <dgm:t>
        <a:bodyPr/>
        <a:lstStyle/>
        <a:p>
          <a:r>
            <a:rPr lang="en-IN" sz="2400" dirty="0"/>
            <a:t>Click on “Cancel”</a:t>
          </a:r>
        </a:p>
      </dgm:t>
    </dgm:pt>
    <dgm:pt modelId="{1D9F6979-880E-46F7-BB5D-7803D8DC498C}" type="parTrans" cxnId="{4D04A0AA-023E-4E66-8C01-070C6023F676}">
      <dgm:prSet/>
      <dgm:spPr/>
      <dgm:t>
        <a:bodyPr/>
        <a:lstStyle/>
        <a:p>
          <a:endParaRPr lang="en-IN"/>
        </a:p>
      </dgm:t>
    </dgm:pt>
    <dgm:pt modelId="{D045ECA0-5B2F-45E9-A441-22967F430E07}" type="sibTrans" cxnId="{4D04A0AA-023E-4E66-8C01-070C6023F676}">
      <dgm:prSet/>
      <dgm:spPr/>
      <dgm:t>
        <a:bodyPr/>
        <a:lstStyle/>
        <a:p>
          <a:endParaRPr lang="en-IN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6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6" custScaleX="103698">
        <dgm:presLayoutVars>
          <dgm:bulletEnabled val="1"/>
        </dgm:presLayoutVars>
      </dgm:prSet>
      <dgm:spPr/>
    </dgm:pt>
    <dgm:pt modelId="{A96C3C7A-8488-4DBD-8C54-1C3F3ED22D40}" type="pres">
      <dgm:prSet presAssocID="{A962B8F1-BA58-4837-95A7-500622AD01EF}" presName="sibTrans" presStyleCnt="0"/>
      <dgm:spPr/>
    </dgm:pt>
    <dgm:pt modelId="{1799F81F-928F-4311-AFEB-7375770BCC8C}" type="pres">
      <dgm:prSet presAssocID="{AABE247B-AD6E-459C-884B-8709BD7319F2}" presName="textNode" presStyleLbl="node1" presStyleIdx="2" presStyleCnt="6">
        <dgm:presLayoutVars>
          <dgm:bulletEnabled val="1"/>
        </dgm:presLayoutVars>
      </dgm:prSet>
      <dgm:spPr/>
    </dgm:pt>
    <dgm:pt modelId="{3611CF16-6E05-4B16-A125-14AE8C43D7E1}" type="pres">
      <dgm:prSet presAssocID="{AB52B959-6F47-48A5-8F50-27103BE1384C}" presName="sibTrans" presStyleCnt="0"/>
      <dgm:spPr/>
    </dgm:pt>
    <dgm:pt modelId="{729CEEA4-3FA3-4ACE-BEC0-E00A9855B1C4}" type="pres">
      <dgm:prSet presAssocID="{5BF82E55-9150-4208-87C1-17326BA2B021}" presName="textNode" presStyleLbl="node1" presStyleIdx="3" presStyleCnt="6">
        <dgm:presLayoutVars>
          <dgm:bulletEnabled val="1"/>
        </dgm:presLayoutVars>
      </dgm:prSet>
      <dgm:spPr/>
    </dgm:pt>
    <dgm:pt modelId="{09ED63D8-B3D7-40B3-A01C-26A5F7921685}" type="pres">
      <dgm:prSet presAssocID="{F56E41DB-767A-499A-B2CA-3EB2FA348584}" presName="sibTrans" presStyleCnt="0"/>
      <dgm:spPr/>
    </dgm:pt>
    <dgm:pt modelId="{FAFD594C-F0C1-4E0D-8EB9-DB4C3348611B}" type="pres">
      <dgm:prSet presAssocID="{19D50A82-6495-48F7-ADA6-975FB9E47076}" presName="textNode" presStyleLbl="node1" presStyleIdx="4" presStyleCnt="6">
        <dgm:presLayoutVars>
          <dgm:bulletEnabled val="1"/>
        </dgm:presLayoutVars>
      </dgm:prSet>
      <dgm:spPr/>
    </dgm:pt>
    <dgm:pt modelId="{7188DC0E-A274-470A-9FFD-12456280E189}" type="pres">
      <dgm:prSet presAssocID="{C21AD544-3458-48ED-AD00-5B539442D221}" presName="sibTrans" presStyleCnt="0"/>
      <dgm:spPr/>
    </dgm:pt>
    <dgm:pt modelId="{2E9F85AB-1261-4A2F-B9C1-CF2A1BFB3CA0}" type="pres">
      <dgm:prSet presAssocID="{50B76BD8-E036-424E-B395-592326B3FEE2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2E5CA811-C50B-45C1-8C3E-647FAE027B27}" type="presOf" srcId="{19D50A82-6495-48F7-ADA6-975FB9E47076}" destId="{FAFD594C-F0C1-4E0D-8EB9-DB4C3348611B}" srcOrd="0" destOrd="0" presId="urn:microsoft.com/office/officeart/2005/8/layout/hProcess9"/>
    <dgm:cxn modelId="{B7DAE72F-28E4-405E-B91D-2A08022EE91B}" type="presOf" srcId="{50B76BD8-E036-424E-B395-592326B3FEE2}" destId="{2E9F85AB-1261-4A2F-B9C1-CF2A1BFB3CA0}" srcOrd="0" destOrd="0" presId="urn:microsoft.com/office/officeart/2005/8/layout/hProcess9"/>
    <dgm:cxn modelId="{6F50D846-AE91-47FC-AA71-3DDBED27E463}" srcId="{21375CC3-A8C9-4B30-AAD0-3487DE0D5D45}" destId="{5BF82E55-9150-4208-87C1-17326BA2B021}" srcOrd="3" destOrd="0" parTransId="{67D8AA5E-5673-4DB1-8540-B6167F7BA6F3}" sibTransId="{F56E41DB-767A-499A-B2CA-3EB2FA348584}"/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B60CFA93-8632-48EA-AD7A-FAFDFD6E642C}" type="presOf" srcId="{5BF82E55-9150-4208-87C1-17326BA2B021}" destId="{729CEEA4-3FA3-4ACE-BEC0-E00A9855B1C4}" srcOrd="0" destOrd="0" presId="urn:microsoft.com/office/officeart/2005/8/layout/hProcess9"/>
    <dgm:cxn modelId="{4D04A0AA-023E-4E66-8C01-070C6023F676}" srcId="{21375CC3-A8C9-4B30-AAD0-3487DE0D5D45}" destId="{50B76BD8-E036-424E-B395-592326B3FEE2}" srcOrd="5" destOrd="0" parTransId="{1D9F6979-880E-46F7-BB5D-7803D8DC498C}" sibTransId="{D045ECA0-5B2F-45E9-A441-22967F430E07}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F7C311B2-149F-4065-8F62-2EF162F69F50}" srcId="{21375CC3-A8C9-4B30-AAD0-3487DE0D5D45}" destId="{19D50A82-6495-48F7-ADA6-975FB9E47076}" srcOrd="4" destOrd="0" parTransId="{2339ABB4-2BE2-46F6-B0EB-430731C176A1}" sibTransId="{C21AD544-3458-48ED-AD00-5B539442D221}"/>
    <dgm:cxn modelId="{96EB1CEA-43A7-4584-A0F3-F2C05570179A}" type="presOf" srcId="{AABE247B-AD6E-459C-884B-8709BD7319F2}" destId="{1799F81F-928F-4311-AFEB-7375770BCC8C}" srcOrd="0" destOrd="0" presId="urn:microsoft.com/office/officeart/2005/8/layout/hProcess9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7F6A73FD-FB87-4993-B2AF-5D3BA5A7E62B}" srcId="{21375CC3-A8C9-4B30-AAD0-3487DE0D5D45}" destId="{AABE247B-AD6E-459C-884B-8709BD7319F2}" srcOrd="2" destOrd="0" parTransId="{3BD913E9-1395-4B93-A86D-938943BD3883}" sibTransId="{AB52B959-6F47-48A5-8F50-27103BE1384C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C7CA1E8E-BFC4-4CF5-82DB-D42E9B4D9F80}" type="presParOf" srcId="{1FE6110A-65F6-420B-8531-CA5FA06CFFC8}" destId="{A96C3C7A-8488-4DBD-8C54-1C3F3ED22D40}" srcOrd="3" destOrd="0" presId="urn:microsoft.com/office/officeart/2005/8/layout/hProcess9"/>
    <dgm:cxn modelId="{92ABC8F0-3615-45E6-9FB8-66AE1395C25E}" type="presParOf" srcId="{1FE6110A-65F6-420B-8531-CA5FA06CFFC8}" destId="{1799F81F-928F-4311-AFEB-7375770BCC8C}" srcOrd="4" destOrd="0" presId="urn:microsoft.com/office/officeart/2005/8/layout/hProcess9"/>
    <dgm:cxn modelId="{383DFC99-3B46-490E-8BAA-580504FBC2E8}" type="presParOf" srcId="{1FE6110A-65F6-420B-8531-CA5FA06CFFC8}" destId="{3611CF16-6E05-4B16-A125-14AE8C43D7E1}" srcOrd="5" destOrd="0" presId="urn:microsoft.com/office/officeart/2005/8/layout/hProcess9"/>
    <dgm:cxn modelId="{C57B399D-377C-4A85-A0E3-F76AA5B12ADA}" type="presParOf" srcId="{1FE6110A-65F6-420B-8531-CA5FA06CFFC8}" destId="{729CEEA4-3FA3-4ACE-BEC0-E00A9855B1C4}" srcOrd="6" destOrd="0" presId="urn:microsoft.com/office/officeart/2005/8/layout/hProcess9"/>
    <dgm:cxn modelId="{97BA7F6A-9C8C-427F-89BE-D39AD791C602}" type="presParOf" srcId="{1FE6110A-65F6-420B-8531-CA5FA06CFFC8}" destId="{09ED63D8-B3D7-40B3-A01C-26A5F7921685}" srcOrd="7" destOrd="0" presId="urn:microsoft.com/office/officeart/2005/8/layout/hProcess9"/>
    <dgm:cxn modelId="{9FA64D13-A369-429F-96FE-C7E1556BEAF6}" type="presParOf" srcId="{1FE6110A-65F6-420B-8531-CA5FA06CFFC8}" destId="{FAFD594C-F0C1-4E0D-8EB9-DB4C3348611B}" srcOrd="8" destOrd="0" presId="urn:microsoft.com/office/officeart/2005/8/layout/hProcess9"/>
    <dgm:cxn modelId="{C4085168-4F40-4E74-9D76-E2161462231C}" type="presParOf" srcId="{1FE6110A-65F6-420B-8531-CA5FA06CFFC8}" destId="{7188DC0E-A274-470A-9FFD-12456280E189}" srcOrd="9" destOrd="0" presId="urn:microsoft.com/office/officeart/2005/8/layout/hProcess9"/>
    <dgm:cxn modelId="{1CF63827-2E4F-4F75-97B6-9D0A08E9B958}" type="presParOf" srcId="{1FE6110A-65F6-420B-8531-CA5FA06CFFC8}" destId="{2E9F85AB-1261-4A2F-B9C1-CF2A1BFB3CA0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1375CC3-A8C9-4B30-AAD0-3487DE0D5D45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3B80AF6A-3077-4620-AA5B-D9CDBC0F2225}">
      <dgm:prSet phldrT="[Text]" custT="1"/>
      <dgm:spPr/>
      <dgm:t>
        <a:bodyPr/>
        <a:lstStyle/>
        <a:p>
          <a:r>
            <a:rPr lang="en-IN" sz="2000" dirty="0"/>
            <a:t>Click on “Orders”</a:t>
          </a:r>
        </a:p>
      </dgm:t>
    </dgm:pt>
    <dgm:pt modelId="{9BBF75FD-7CB2-4017-8757-904C90F2B6CD}" type="parTrans" cxnId="{36127DFB-A643-4E61-AC18-18FB373C99DF}">
      <dgm:prSet/>
      <dgm:spPr/>
      <dgm:t>
        <a:bodyPr/>
        <a:lstStyle/>
        <a:p>
          <a:endParaRPr lang="en-IN" sz="1600"/>
        </a:p>
      </dgm:t>
    </dgm:pt>
    <dgm:pt modelId="{D046BC8C-FB37-4D59-A07D-6618238577F1}" type="sibTrans" cxnId="{36127DFB-A643-4E61-AC18-18FB373C99DF}">
      <dgm:prSet/>
      <dgm:spPr/>
      <dgm:t>
        <a:bodyPr/>
        <a:lstStyle/>
        <a:p>
          <a:endParaRPr lang="en-IN" sz="1600"/>
        </a:p>
      </dgm:t>
    </dgm:pt>
    <dgm:pt modelId="{AA88E9B5-03B9-4D1A-A680-1EE3C611CBBF}">
      <dgm:prSet phldrT="[Text]" custT="1"/>
      <dgm:spPr/>
      <dgm:t>
        <a:bodyPr/>
        <a:lstStyle/>
        <a:p>
          <a:r>
            <a:rPr lang="en-IN" sz="2000" dirty="0"/>
            <a:t>Click on order that is to be refunded. </a:t>
          </a:r>
        </a:p>
        <a:p>
          <a:r>
            <a:rPr lang="en-IN" sz="2000" dirty="0"/>
            <a:t>E.g. 1037</a:t>
          </a:r>
        </a:p>
      </dgm:t>
    </dgm:pt>
    <dgm:pt modelId="{22AD0CF6-3983-4674-A771-6488EDEB5C94}" type="parTrans" cxnId="{5EA014EC-82D9-4D25-82B2-EBB986388B76}">
      <dgm:prSet/>
      <dgm:spPr/>
      <dgm:t>
        <a:bodyPr/>
        <a:lstStyle/>
        <a:p>
          <a:endParaRPr lang="en-IN" sz="1600"/>
        </a:p>
      </dgm:t>
    </dgm:pt>
    <dgm:pt modelId="{A962B8F1-BA58-4837-95A7-500622AD01EF}" type="sibTrans" cxnId="{5EA014EC-82D9-4D25-82B2-EBB986388B76}">
      <dgm:prSet/>
      <dgm:spPr/>
      <dgm:t>
        <a:bodyPr/>
        <a:lstStyle/>
        <a:p>
          <a:endParaRPr lang="en-IN" sz="1600"/>
        </a:p>
      </dgm:t>
    </dgm:pt>
    <dgm:pt modelId="{F3391D23-26C6-4FC0-AA4A-557045152C19}">
      <dgm:prSet phldrT="[Text]" custT="1"/>
      <dgm:spPr/>
      <dgm:t>
        <a:bodyPr/>
        <a:lstStyle/>
        <a:p>
          <a:r>
            <a:rPr lang="en-IN" sz="2000" dirty="0"/>
            <a:t>Click on “Refund”</a:t>
          </a:r>
        </a:p>
      </dgm:t>
    </dgm:pt>
    <dgm:pt modelId="{84936677-2CE4-4794-A3B4-CEC501168605}" type="parTrans" cxnId="{3AA5AFAD-ECD5-4D9B-822C-46FF25224F5A}">
      <dgm:prSet/>
      <dgm:spPr/>
      <dgm:t>
        <a:bodyPr/>
        <a:lstStyle/>
        <a:p>
          <a:endParaRPr lang="en-IN"/>
        </a:p>
      </dgm:t>
    </dgm:pt>
    <dgm:pt modelId="{51CB4E5F-D4A7-476E-B505-8764C6EE47C9}" type="sibTrans" cxnId="{3AA5AFAD-ECD5-4D9B-822C-46FF25224F5A}">
      <dgm:prSet/>
      <dgm:spPr/>
      <dgm:t>
        <a:bodyPr/>
        <a:lstStyle/>
        <a:p>
          <a:endParaRPr lang="en-IN"/>
        </a:p>
      </dgm:t>
    </dgm:pt>
    <dgm:pt modelId="{27EF632F-FE67-4CF5-B464-657A1FD1DC39}">
      <dgm:prSet phldrT="[Text]" custT="1"/>
      <dgm:spPr/>
      <dgm:t>
        <a:bodyPr/>
        <a:lstStyle/>
        <a:p>
          <a:r>
            <a:rPr lang="en-IN" sz="2000" dirty="0"/>
            <a:t>Add refund details and “Reason for refund”</a:t>
          </a:r>
        </a:p>
      </dgm:t>
    </dgm:pt>
    <dgm:pt modelId="{D7023ABF-ED9D-4F8E-95FC-FB2F4C60510B}" type="parTrans" cxnId="{7E8EAFBE-037F-41AE-BA6D-F32F02358BDC}">
      <dgm:prSet/>
      <dgm:spPr/>
      <dgm:t>
        <a:bodyPr/>
        <a:lstStyle/>
        <a:p>
          <a:endParaRPr lang="en-IN"/>
        </a:p>
      </dgm:t>
    </dgm:pt>
    <dgm:pt modelId="{FEA8868E-57F9-4E10-8E55-8C56300C8FAD}" type="sibTrans" cxnId="{7E8EAFBE-037F-41AE-BA6D-F32F02358BDC}">
      <dgm:prSet/>
      <dgm:spPr/>
      <dgm:t>
        <a:bodyPr/>
        <a:lstStyle/>
        <a:p>
          <a:endParaRPr lang="en-IN"/>
        </a:p>
      </dgm:t>
    </dgm:pt>
    <dgm:pt modelId="{7585B109-A5B0-44B1-9749-9F01531E912E}" type="pres">
      <dgm:prSet presAssocID="{21375CC3-A8C9-4B30-AAD0-3487DE0D5D45}" presName="CompostProcess" presStyleCnt="0">
        <dgm:presLayoutVars>
          <dgm:dir/>
          <dgm:resizeHandles val="exact"/>
        </dgm:presLayoutVars>
      </dgm:prSet>
      <dgm:spPr/>
    </dgm:pt>
    <dgm:pt modelId="{01954420-A18E-4FA5-B05B-1550F620C6D1}" type="pres">
      <dgm:prSet presAssocID="{21375CC3-A8C9-4B30-AAD0-3487DE0D5D45}" presName="arrow" presStyleLbl="bgShp" presStyleIdx="0" presStyleCnt="1"/>
      <dgm:spPr/>
    </dgm:pt>
    <dgm:pt modelId="{1FE6110A-65F6-420B-8531-CA5FA06CFFC8}" type="pres">
      <dgm:prSet presAssocID="{21375CC3-A8C9-4B30-AAD0-3487DE0D5D45}" presName="linearProcess" presStyleCnt="0"/>
      <dgm:spPr/>
    </dgm:pt>
    <dgm:pt modelId="{0BED09D9-9645-4A6D-BDFA-6E4AB495C263}" type="pres">
      <dgm:prSet presAssocID="{3B80AF6A-3077-4620-AA5B-D9CDBC0F2225}" presName="textNode" presStyleLbl="node1" presStyleIdx="0" presStyleCnt="4">
        <dgm:presLayoutVars>
          <dgm:bulletEnabled val="1"/>
        </dgm:presLayoutVars>
      </dgm:prSet>
      <dgm:spPr/>
    </dgm:pt>
    <dgm:pt modelId="{6446CCED-21ED-4FBB-B830-0182A8FC0902}" type="pres">
      <dgm:prSet presAssocID="{D046BC8C-FB37-4D59-A07D-6618238577F1}" presName="sibTrans" presStyleCnt="0"/>
      <dgm:spPr/>
    </dgm:pt>
    <dgm:pt modelId="{47B0FBFC-B45F-4281-A2BA-9299B4C1E02A}" type="pres">
      <dgm:prSet presAssocID="{AA88E9B5-03B9-4D1A-A680-1EE3C611CBBF}" presName="textNode" presStyleLbl="node1" presStyleIdx="1" presStyleCnt="4">
        <dgm:presLayoutVars>
          <dgm:bulletEnabled val="1"/>
        </dgm:presLayoutVars>
      </dgm:prSet>
      <dgm:spPr/>
    </dgm:pt>
    <dgm:pt modelId="{DC966499-12A4-4ED6-A2B0-CC81714AD66B}" type="pres">
      <dgm:prSet presAssocID="{A962B8F1-BA58-4837-95A7-500622AD01EF}" presName="sibTrans" presStyleCnt="0"/>
      <dgm:spPr/>
    </dgm:pt>
    <dgm:pt modelId="{B94E7502-A875-437E-A66A-63384F525523}" type="pres">
      <dgm:prSet presAssocID="{F3391D23-26C6-4FC0-AA4A-557045152C19}" presName="textNode" presStyleLbl="node1" presStyleIdx="2" presStyleCnt="4">
        <dgm:presLayoutVars>
          <dgm:bulletEnabled val="1"/>
        </dgm:presLayoutVars>
      </dgm:prSet>
      <dgm:spPr/>
    </dgm:pt>
    <dgm:pt modelId="{64EFC4E4-BF87-441F-A397-40875D664CCE}" type="pres">
      <dgm:prSet presAssocID="{51CB4E5F-D4A7-476E-B505-8764C6EE47C9}" presName="sibTrans" presStyleCnt="0"/>
      <dgm:spPr/>
    </dgm:pt>
    <dgm:pt modelId="{4D0BA196-9172-43D4-8A27-F8FF8FB3855A}" type="pres">
      <dgm:prSet presAssocID="{27EF632F-FE67-4CF5-B464-657A1FD1DC39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12DFA86D-948F-4888-A9A6-AB8F4F7ED9B0}" type="presOf" srcId="{AA88E9B5-03B9-4D1A-A680-1EE3C611CBBF}" destId="{47B0FBFC-B45F-4281-A2BA-9299B4C1E02A}" srcOrd="0" destOrd="0" presId="urn:microsoft.com/office/officeart/2005/8/layout/hProcess9"/>
    <dgm:cxn modelId="{AAB93F5A-0002-47B6-94E9-2D6784CC739C}" type="presOf" srcId="{3B80AF6A-3077-4620-AA5B-D9CDBC0F2225}" destId="{0BED09D9-9645-4A6D-BDFA-6E4AB495C263}" srcOrd="0" destOrd="0" presId="urn:microsoft.com/office/officeart/2005/8/layout/hProcess9"/>
    <dgm:cxn modelId="{325F0F7B-F509-491A-87A8-DB1AB0A4C409}" type="presOf" srcId="{F3391D23-26C6-4FC0-AA4A-557045152C19}" destId="{B94E7502-A875-437E-A66A-63384F525523}" srcOrd="0" destOrd="0" presId="urn:microsoft.com/office/officeart/2005/8/layout/hProcess9"/>
    <dgm:cxn modelId="{839B92AB-6C50-4EDD-A9B5-4DEE171FAB84}" type="presOf" srcId="{21375CC3-A8C9-4B30-AAD0-3487DE0D5D45}" destId="{7585B109-A5B0-44B1-9749-9F01531E912E}" srcOrd="0" destOrd="0" presId="urn:microsoft.com/office/officeart/2005/8/layout/hProcess9"/>
    <dgm:cxn modelId="{3AA5AFAD-ECD5-4D9B-822C-46FF25224F5A}" srcId="{21375CC3-A8C9-4B30-AAD0-3487DE0D5D45}" destId="{F3391D23-26C6-4FC0-AA4A-557045152C19}" srcOrd="2" destOrd="0" parTransId="{84936677-2CE4-4794-A3B4-CEC501168605}" sibTransId="{51CB4E5F-D4A7-476E-B505-8764C6EE47C9}"/>
    <dgm:cxn modelId="{944D28B0-3543-46E1-A529-E7760F08ABA6}" type="presOf" srcId="{27EF632F-FE67-4CF5-B464-657A1FD1DC39}" destId="{4D0BA196-9172-43D4-8A27-F8FF8FB3855A}" srcOrd="0" destOrd="0" presId="urn:microsoft.com/office/officeart/2005/8/layout/hProcess9"/>
    <dgm:cxn modelId="{7E8EAFBE-037F-41AE-BA6D-F32F02358BDC}" srcId="{21375CC3-A8C9-4B30-AAD0-3487DE0D5D45}" destId="{27EF632F-FE67-4CF5-B464-657A1FD1DC39}" srcOrd="3" destOrd="0" parTransId="{D7023ABF-ED9D-4F8E-95FC-FB2F4C60510B}" sibTransId="{FEA8868E-57F9-4E10-8E55-8C56300C8FAD}"/>
    <dgm:cxn modelId="{5EA014EC-82D9-4D25-82B2-EBB986388B76}" srcId="{21375CC3-A8C9-4B30-AAD0-3487DE0D5D45}" destId="{AA88E9B5-03B9-4D1A-A680-1EE3C611CBBF}" srcOrd="1" destOrd="0" parTransId="{22AD0CF6-3983-4674-A771-6488EDEB5C94}" sibTransId="{A962B8F1-BA58-4837-95A7-500622AD01EF}"/>
    <dgm:cxn modelId="{36127DFB-A643-4E61-AC18-18FB373C99DF}" srcId="{21375CC3-A8C9-4B30-AAD0-3487DE0D5D45}" destId="{3B80AF6A-3077-4620-AA5B-D9CDBC0F2225}" srcOrd="0" destOrd="0" parTransId="{9BBF75FD-7CB2-4017-8757-904C90F2B6CD}" sibTransId="{D046BC8C-FB37-4D59-A07D-6618238577F1}"/>
    <dgm:cxn modelId="{A43C1029-25CB-4168-BD43-30DF087BB1DC}" type="presParOf" srcId="{7585B109-A5B0-44B1-9749-9F01531E912E}" destId="{01954420-A18E-4FA5-B05B-1550F620C6D1}" srcOrd="0" destOrd="0" presId="urn:microsoft.com/office/officeart/2005/8/layout/hProcess9"/>
    <dgm:cxn modelId="{C47C1EA1-4ACC-4A34-B833-6220BCFCC045}" type="presParOf" srcId="{7585B109-A5B0-44B1-9749-9F01531E912E}" destId="{1FE6110A-65F6-420B-8531-CA5FA06CFFC8}" srcOrd="1" destOrd="0" presId="urn:microsoft.com/office/officeart/2005/8/layout/hProcess9"/>
    <dgm:cxn modelId="{D435AAC4-784C-4232-8738-CA690CC05A45}" type="presParOf" srcId="{1FE6110A-65F6-420B-8531-CA5FA06CFFC8}" destId="{0BED09D9-9645-4A6D-BDFA-6E4AB495C263}" srcOrd="0" destOrd="0" presId="urn:microsoft.com/office/officeart/2005/8/layout/hProcess9"/>
    <dgm:cxn modelId="{F3735D03-A208-4E24-8861-312112D1CC09}" type="presParOf" srcId="{1FE6110A-65F6-420B-8531-CA5FA06CFFC8}" destId="{6446CCED-21ED-4FBB-B830-0182A8FC0902}" srcOrd="1" destOrd="0" presId="urn:microsoft.com/office/officeart/2005/8/layout/hProcess9"/>
    <dgm:cxn modelId="{F20279F3-9F46-4F47-93A0-22BD4614C542}" type="presParOf" srcId="{1FE6110A-65F6-420B-8531-CA5FA06CFFC8}" destId="{47B0FBFC-B45F-4281-A2BA-9299B4C1E02A}" srcOrd="2" destOrd="0" presId="urn:microsoft.com/office/officeart/2005/8/layout/hProcess9"/>
    <dgm:cxn modelId="{B2DB7133-4E4D-4E39-982B-72584C0B52A1}" type="presParOf" srcId="{1FE6110A-65F6-420B-8531-CA5FA06CFFC8}" destId="{DC966499-12A4-4ED6-A2B0-CC81714AD66B}" srcOrd="3" destOrd="0" presId="urn:microsoft.com/office/officeart/2005/8/layout/hProcess9"/>
    <dgm:cxn modelId="{A5CBA29B-CDB0-4CB2-8A3C-178692B8BDF0}" type="presParOf" srcId="{1FE6110A-65F6-420B-8531-CA5FA06CFFC8}" destId="{B94E7502-A875-437E-A66A-63384F525523}" srcOrd="4" destOrd="0" presId="urn:microsoft.com/office/officeart/2005/8/layout/hProcess9"/>
    <dgm:cxn modelId="{803FBAFF-1244-4CE6-9238-0503B8782D01}" type="presParOf" srcId="{1FE6110A-65F6-420B-8531-CA5FA06CFFC8}" destId="{64EFC4E4-BF87-441F-A397-40875D664CCE}" srcOrd="5" destOrd="0" presId="urn:microsoft.com/office/officeart/2005/8/layout/hProcess9"/>
    <dgm:cxn modelId="{2B8D51F9-5829-4D60-9A2E-7D10ED4780C9}" type="presParOf" srcId="{1FE6110A-65F6-420B-8531-CA5FA06CFFC8}" destId="{4D0BA196-9172-43D4-8A27-F8FF8FB3855A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06CACD-E445-4813-8668-2B558126ABE0}">
      <dsp:nvSpPr>
        <dsp:cNvPr id="0" name=""/>
        <dsp:cNvSpPr/>
      </dsp:nvSpPr>
      <dsp:spPr>
        <a:xfrm>
          <a:off x="837842" y="0"/>
          <a:ext cx="9495552" cy="409733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C1043F-3049-41FC-A760-F3C233C2EFF1}">
      <dsp:nvSpPr>
        <dsp:cNvPr id="0" name=""/>
        <dsp:cNvSpPr/>
      </dsp:nvSpPr>
      <dsp:spPr>
        <a:xfrm>
          <a:off x="954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plete steps 1 to 18 as in replacement slides shown in Replacement Order 3.0.</a:t>
          </a:r>
          <a:endParaRPr lang="en-IN" sz="1400" kern="1200" dirty="0"/>
        </a:p>
      </dsp:txBody>
      <dsp:txXfrm>
        <a:off x="75645" y="1303892"/>
        <a:ext cx="1380663" cy="1489553"/>
      </dsp:txXfrm>
    </dsp:sp>
    <dsp:sp modelId="{B6857139-D18D-4B24-AD02-60273A6F2375}">
      <dsp:nvSpPr>
        <dsp:cNvPr id="0" name=""/>
        <dsp:cNvSpPr/>
      </dsp:nvSpPr>
      <dsp:spPr>
        <a:xfrm>
          <a:off x="1607501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1 Now click on “…” button in front of “Customer”.</a:t>
          </a:r>
          <a:endParaRPr lang="en-IN" sz="1400" kern="1200" dirty="0"/>
        </a:p>
      </dsp:txBody>
      <dsp:txXfrm>
        <a:off x="1682192" y="1303892"/>
        <a:ext cx="1380663" cy="1489553"/>
      </dsp:txXfrm>
    </dsp:sp>
    <dsp:sp modelId="{DAA488B3-FC31-48F4-8EC4-AE813E73AFB5}">
      <dsp:nvSpPr>
        <dsp:cNvPr id="0" name=""/>
        <dsp:cNvSpPr/>
      </dsp:nvSpPr>
      <dsp:spPr>
        <a:xfrm>
          <a:off x="3214049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2 Click on “Edit Shipping Address”</a:t>
          </a:r>
          <a:endParaRPr lang="en-IN" sz="1400" kern="1200" dirty="0"/>
        </a:p>
      </dsp:txBody>
      <dsp:txXfrm>
        <a:off x="3288740" y="1303892"/>
        <a:ext cx="1380663" cy="1489553"/>
      </dsp:txXfrm>
    </dsp:sp>
    <dsp:sp modelId="{01AFC56B-D902-42AF-ADD9-E01CFE757791}">
      <dsp:nvSpPr>
        <dsp:cNvPr id="0" name=""/>
        <dsp:cNvSpPr/>
      </dsp:nvSpPr>
      <dsp:spPr>
        <a:xfrm>
          <a:off x="4820596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3 Click on “Select Address”</a:t>
          </a:r>
          <a:endParaRPr lang="en-IN" sz="1400" kern="1200" dirty="0"/>
        </a:p>
      </dsp:txBody>
      <dsp:txXfrm>
        <a:off x="4895287" y="1303892"/>
        <a:ext cx="1380663" cy="1489553"/>
      </dsp:txXfrm>
    </dsp:sp>
    <dsp:sp modelId="{A52269C1-48E0-4481-BAED-615DB9A7C59E}">
      <dsp:nvSpPr>
        <dsp:cNvPr id="0" name=""/>
        <dsp:cNvSpPr/>
      </dsp:nvSpPr>
      <dsp:spPr>
        <a:xfrm>
          <a:off x="6427143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4 Select the preferred address.</a:t>
          </a:r>
          <a:endParaRPr lang="en-IN" sz="1400" kern="1200" dirty="0"/>
        </a:p>
      </dsp:txBody>
      <dsp:txXfrm>
        <a:off x="6501834" y="1303892"/>
        <a:ext cx="1380663" cy="1489553"/>
      </dsp:txXfrm>
    </dsp:sp>
    <dsp:sp modelId="{F6A8816D-7B35-47F1-B580-C6A154D7D80B}">
      <dsp:nvSpPr>
        <dsp:cNvPr id="0" name=""/>
        <dsp:cNvSpPr/>
      </dsp:nvSpPr>
      <dsp:spPr>
        <a:xfrm>
          <a:off x="8033691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18.5 Click on “Done”</a:t>
          </a:r>
          <a:endParaRPr lang="en-IN" sz="1400" kern="1200" dirty="0"/>
        </a:p>
      </dsp:txBody>
      <dsp:txXfrm>
        <a:off x="8108382" y="1303892"/>
        <a:ext cx="1380663" cy="1489553"/>
      </dsp:txXfrm>
    </dsp:sp>
    <dsp:sp modelId="{120D59A6-EC6F-48ED-AFB3-7B8C3332FFBD}">
      <dsp:nvSpPr>
        <dsp:cNvPr id="0" name=""/>
        <dsp:cNvSpPr/>
      </dsp:nvSpPr>
      <dsp:spPr>
        <a:xfrm>
          <a:off x="9640238" y="1229201"/>
          <a:ext cx="1530045" cy="16389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ntinue with steps after no. 18 as it is from Replacement Order 3.0</a:t>
          </a:r>
          <a:endParaRPr lang="en-IN" sz="1400" kern="1200" dirty="0"/>
        </a:p>
      </dsp:txBody>
      <dsp:txXfrm>
        <a:off x="9714929" y="1303892"/>
        <a:ext cx="1380663" cy="14895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751487" y="0"/>
          <a:ext cx="8516854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Click on “Orders”</a:t>
          </a:r>
        </a:p>
      </dsp:txBody>
      <dsp:txXfrm>
        <a:off x="87813" y="1436949"/>
        <a:ext cx="2830322" cy="1623223"/>
      </dsp:txXfrm>
    </dsp:sp>
    <dsp:sp modelId="{47B0FBFC-B45F-4281-A2BA-9299B4C1E02A}">
      <dsp:nvSpPr>
        <dsp:cNvPr id="0" name=""/>
        <dsp:cNvSpPr/>
      </dsp:nvSpPr>
      <dsp:spPr>
        <a:xfrm>
          <a:off x="350694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Click on “Replacement”</a:t>
          </a:r>
        </a:p>
      </dsp:txBody>
      <dsp:txXfrm>
        <a:off x="3594753" y="1436949"/>
        <a:ext cx="2830322" cy="1623223"/>
      </dsp:txXfrm>
    </dsp:sp>
    <dsp:sp modelId="{1799F81F-928F-4311-AFEB-7375770BCC8C}">
      <dsp:nvSpPr>
        <dsp:cNvPr id="0" name=""/>
        <dsp:cNvSpPr/>
      </dsp:nvSpPr>
      <dsp:spPr>
        <a:xfrm>
          <a:off x="7013880" y="1349136"/>
          <a:ext cx="3005948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Get all replaced orders</a:t>
          </a:r>
        </a:p>
      </dsp:txBody>
      <dsp:txXfrm>
        <a:off x="7101693" y="1436949"/>
        <a:ext cx="2830322" cy="16232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818673" y="0"/>
          <a:ext cx="9278301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3554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Orders”</a:t>
          </a:r>
        </a:p>
      </dsp:txBody>
      <dsp:txXfrm>
        <a:off x="81063" y="1426645"/>
        <a:ext cx="1432761" cy="1643831"/>
      </dsp:txXfrm>
    </dsp:sp>
    <dsp:sp modelId="{47B0FBFC-B45F-4281-A2BA-9299B4C1E02A}">
      <dsp:nvSpPr>
        <dsp:cNvPr id="0" name=""/>
        <dsp:cNvSpPr/>
      </dsp:nvSpPr>
      <dsp:spPr>
        <a:xfrm>
          <a:off x="1855963" y="1349136"/>
          <a:ext cx="1646495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Select Order that is to be cancelled. e.g. #1013</a:t>
          </a:r>
        </a:p>
      </dsp:txBody>
      <dsp:txXfrm>
        <a:off x="1936338" y="1429511"/>
        <a:ext cx="1485745" cy="1638099"/>
      </dsp:txXfrm>
    </dsp:sp>
    <dsp:sp modelId="{1799F81F-928F-4311-AFEB-7375770BCC8C}">
      <dsp:nvSpPr>
        <dsp:cNvPr id="0" name=""/>
        <dsp:cNvSpPr/>
      </dsp:nvSpPr>
      <dsp:spPr>
        <a:xfrm>
          <a:off x="3767088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More actions”</a:t>
          </a:r>
        </a:p>
      </dsp:txBody>
      <dsp:txXfrm>
        <a:off x="3844597" y="1426645"/>
        <a:ext cx="1432761" cy="1643831"/>
      </dsp:txXfrm>
    </dsp:sp>
    <dsp:sp modelId="{729CEEA4-3FA3-4ACE-BEC0-E00A9855B1C4}">
      <dsp:nvSpPr>
        <dsp:cNvPr id="0" name=""/>
        <dsp:cNvSpPr/>
      </dsp:nvSpPr>
      <dsp:spPr>
        <a:xfrm>
          <a:off x="5619497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Cancel order”</a:t>
          </a:r>
        </a:p>
      </dsp:txBody>
      <dsp:txXfrm>
        <a:off x="5697006" y="1426645"/>
        <a:ext cx="1432761" cy="1643831"/>
      </dsp:txXfrm>
    </dsp:sp>
    <dsp:sp modelId="{FAFD594C-F0C1-4E0D-8EB9-DB4C3348611B}">
      <dsp:nvSpPr>
        <dsp:cNvPr id="0" name=""/>
        <dsp:cNvSpPr/>
      </dsp:nvSpPr>
      <dsp:spPr>
        <a:xfrm>
          <a:off x="7471906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Select Reason</a:t>
          </a:r>
        </a:p>
      </dsp:txBody>
      <dsp:txXfrm>
        <a:off x="7549415" y="1426645"/>
        <a:ext cx="1432761" cy="1643831"/>
      </dsp:txXfrm>
    </dsp:sp>
    <dsp:sp modelId="{2E9F85AB-1261-4A2F-B9C1-CF2A1BFB3CA0}">
      <dsp:nvSpPr>
        <dsp:cNvPr id="0" name=""/>
        <dsp:cNvSpPr/>
      </dsp:nvSpPr>
      <dsp:spPr>
        <a:xfrm>
          <a:off x="9324315" y="1349136"/>
          <a:ext cx="1587779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lick on “Cancel”</a:t>
          </a:r>
        </a:p>
      </dsp:txBody>
      <dsp:txXfrm>
        <a:off x="9401824" y="1426645"/>
        <a:ext cx="1432761" cy="16438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954420-A18E-4FA5-B05B-1550F620C6D1}">
      <dsp:nvSpPr>
        <dsp:cNvPr id="0" name=""/>
        <dsp:cNvSpPr/>
      </dsp:nvSpPr>
      <dsp:spPr>
        <a:xfrm>
          <a:off x="751487" y="0"/>
          <a:ext cx="8516854" cy="449712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ED09D9-9645-4A6D-BDFA-6E4AB495C263}">
      <dsp:nvSpPr>
        <dsp:cNvPr id="0" name=""/>
        <dsp:cNvSpPr/>
      </dsp:nvSpPr>
      <dsp:spPr>
        <a:xfrm>
          <a:off x="3424" y="1349136"/>
          <a:ext cx="2225106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Click on “Orders”</a:t>
          </a:r>
        </a:p>
      </dsp:txBody>
      <dsp:txXfrm>
        <a:off x="91237" y="1436949"/>
        <a:ext cx="2049480" cy="1623223"/>
      </dsp:txXfrm>
    </dsp:sp>
    <dsp:sp modelId="{47B0FBFC-B45F-4281-A2BA-9299B4C1E02A}">
      <dsp:nvSpPr>
        <dsp:cNvPr id="0" name=""/>
        <dsp:cNvSpPr/>
      </dsp:nvSpPr>
      <dsp:spPr>
        <a:xfrm>
          <a:off x="2599382" y="1349136"/>
          <a:ext cx="2225106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Click on order that is to be refunded.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E.g. 1037</a:t>
          </a:r>
        </a:p>
      </dsp:txBody>
      <dsp:txXfrm>
        <a:off x="2687195" y="1436949"/>
        <a:ext cx="2049480" cy="1623223"/>
      </dsp:txXfrm>
    </dsp:sp>
    <dsp:sp modelId="{B94E7502-A875-437E-A66A-63384F525523}">
      <dsp:nvSpPr>
        <dsp:cNvPr id="0" name=""/>
        <dsp:cNvSpPr/>
      </dsp:nvSpPr>
      <dsp:spPr>
        <a:xfrm>
          <a:off x="5195340" y="1349136"/>
          <a:ext cx="2225106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Click on “Refund”</a:t>
          </a:r>
        </a:p>
      </dsp:txBody>
      <dsp:txXfrm>
        <a:off x="5283153" y="1436949"/>
        <a:ext cx="2049480" cy="1623223"/>
      </dsp:txXfrm>
    </dsp:sp>
    <dsp:sp modelId="{4D0BA196-9172-43D4-8A27-F8FF8FB3855A}">
      <dsp:nvSpPr>
        <dsp:cNvPr id="0" name=""/>
        <dsp:cNvSpPr/>
      </dsp:nvSpPr>
      <dsp:spPr>
        <a:xfrm>
          <a:off x="7791297" y="1349136"/>
          <a:ext cx="2225106" cy="179884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Add refund details and “Reason for refund”</a:t>
          </a:r>
        </a:p>
      </dsp:txBody>
      <dsp:txXfrm>
        <a:off x="7879110" y="1436949"/>
        <a:ext cx="2049480" cy="16232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05000" y="433388"/>
            <a:ext cx="5422900" cy="3051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6669" y="3726027"/>
            <a:ext cx="785713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28307" y="6628249"/>
            <a:ext cx="73145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59687" y="4025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818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4.png"/><Relationship Id="rId5" Type="http://schemas.openxmlformats.org/officeDocument/2006/relationships/tags" Target="../tags/tag26.xml"/><Relationship Id="rId10" Type="http://schemas.openxmlformats.org/officeDocument/2006/relationships/image" Target="../media/image13.emf"/><Relationship Id="rId4" Type="http://schemas.openxmlformats.org/officeDocument/2006/relationships/tags" Target="../tags/tag25.xml"/><Relationship Id="rId9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10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microsoft.com/office/2007/relationships/hdphoto" Target="../media/hdphoto1.wdp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5.png"/><Relationship Id="rId5" Type="http://schemas.openxmlformats.org/officeDocument/2006/relationships/tags" Target="../tags/tag40.xml"/><Relationship Id="rId10" Type="http://schemas.openxmlformats.org/officeDocument/2006/relationships/image" Target="../media/image12.emf"/><Relationship Id="rId4" Type="http://schemas.openxmlformats.org/officeDocument/2006/relationships/tags" Target="../tags/tag39.xml"/><Relationship Id="rId9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21.jpeg"/><Relationship Id="rId4" Type="http://schemas.openxmlformats.org/officeDocument/2006/relationships/image" Target="../media/image1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4" Type="http://schemas.openxmlformats.org/officeDocument/2006/relationships/image" Target="../media/image1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1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0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Relationship Id="rId4" Type="http://schemas.openxmlformats.org/officeDocument/2006/relationships/image" Target="../media/image16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82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C6BF33-354D-407F-8B91-43FC086CC1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044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4156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54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65405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62615" y="3156483"/>
            <a:ext cx="1300698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042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590890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7449" y="2515666"/>
            <a:ext cx="2763232" cy="16901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766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4734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3090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416356115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42009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6483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576673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06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77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8116261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3350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724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27856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5974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91" b="0" i="0" u="none" strike="noStrike" kern="1200" cap="none" spc="0" normalizeH="0" baseline="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677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/25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093373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/25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7010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041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171911" y="6320921"/>
            <a:ext cx="588476" cy="1942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2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BF0B4E-CE60-AB48-9D7E-4434414A7C38}" type="slidenum">
              <a:rPr kumimoji="0" lang="en-US" sz="66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07350" y="1204981"/>
            <a:ext cx="10771526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3524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30F00B3C-0CA5-4CD0-9B0F-F40ADEDA46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232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4A8C8AD-A4F6-464F-8E63-91E8672526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1949113" cy="672278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911923" y="4365947"/>
            <a:ext cx="7707472" cy="2413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68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13041" y="3412269"/>
            <a:ext cx="7707472" cy="2714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764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11923" y="2683117"/>
            <a:ext cx="7708590" cy="4223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744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1D4600A2-6D63-4170-A663-3C39E912643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913041" y="1334960"/>
            <a:ext cx="3513164" cy="6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472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Do not remove" hidden="1">
            <a:extLst>
              <a:ext uri="{FF2B5EF4-FFF2-40B4-BE49-F238E27FC236}">
                <a16:creationId xmlns:a16="http://schemas.microsoft.com/office/drawing/2014/main" id="{8DE9B7CB-BE05-41F1-9C27-DF59F0C70E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71175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3685" y="168784"/>
            <a:ext cx="10861744" cy="71695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3685" y="988473"/>
            <a:ext cx="10861744" cy="271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64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44185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B8142393-9EE8-46E6-A2B4-83393AB695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3478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0690EC0-D9FB-4CB9-A37A-E08A03D73065}"/>
              </a:ext>
            </a:extLst>
          </p:cNvPr>
          <p:cNvSpPr/>
          <p:nvPr userDrawn="1"/>
        </p:nvSpPr>
        <p:spPr bwMode="ltGray">
          <a:xfrm>
            <a:off x="3113" y="0"/>
            <a:ext cx="11946000" cy="672147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AU" sz="1568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5241" y="3028923"/>
            <a:ext cx="10861744" cy="663629"/>
          </a:xfrm>
        </p:spPr>
        <p:txBody>
          <a:bodyPr vert="horz" anchor="ctr">
            <a:noAutofit/>
          </a:bodyPr>
          <a:lstStyle>
            <a:lvl1pPr algn="ctr">
              <a:lnSpc>
                <a:spcPct val="100000"/>
              </a:lnSpc>
              <a:defRPr sz="431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851F2F3-17BC-4E29-9904-F351E5A5C75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pic>
        <p:nvPicPr>
          <p:cNvPr id="13" name="Picture 528" descr="Bausch + Lomb Logo : Bausch + Lomb">
            <a:extLst>
              <a:ext uri="{FF2B5EF4-FFF2-40B4-BE49-F238E27FC236}">
                <a16:creationId xmlns:a16="http://schemas.microsoft.com/office/drawing/2014/main" id="{33E6809A-3CE5-4E9E-A7DF-B72E29F81900}"/>
              </a:ext>
            </a:extLst>
          </p:cNvPr>
          <p:cNvPicPr>
            <a:picLocks noChangeArrowheads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249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440B3F61-5F56-4CC8-985D-9775E56603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7609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416077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4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01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95900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29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9732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8244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7">
            <a:extLst>
              <a:ext uri="{FF2B5EF4-FFF2-40B4-BE49-F238E27FC236}">
                <a16:creationId xmlns:a16="http://schemas.microsoft.com/office/drawing/2014/main" id="{21C109CC-1434-4CF4-9ACF-D207B482634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252081" y="6531489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[ </a:t>
            </a:r>
            <a:fld id="{AAF8A1FE-E77A-4F04-AB42-5E85A63CE2E6}" type="slidenum">
              <a:rPr kumimoji="0" lang="en-US" altLang="en-US" sz="104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]</a:t>
            </a:r>
          </a:p>
        </p:txBody>
      </p:sp>
      <p:sp>
        <p:nvSpPr>
          <p:cNvPr id="6" name="Text Box 88">
            <a:extLst>
              <a:ext uri="{FF2B5EF4-FFF2-40B4-BE49-F238E27FC236}">
                <a16:creationId xmlns:a16="http://schemas.microsoft.com/office/drawing/2014/main" id="{4C8476D7-CDD0-46CE-B661-B08CC0C5EF0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663107" y="6531489"/>
            <a:ext cx="2624242" cy="160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551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06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7510136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88396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319171"/>
            <a:ext cx="11170775" cy="1528232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5227" b="1" cap="all" dirty="0">
                <a:latin typeface="Arial"/>
                <a:cs typeface="ＭＳ Ｐゴシック" charset="0"/>
              </a:defRPr>
            </a:lvl1pPr>
          </a:lstStyle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3648908"/>
            <a:ext cx="11170775" cy="38215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614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 charset="0"/>
              </a:defRPr>
            </a:lvl1pPr>
          </a:lstStyle>
          <a:p>
            <a:pPr marR="0" lv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rgbClr val="72CE9B"/>
              </a:buClr>
              <a:buSzPct val="75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33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4926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437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131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64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40513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437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131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7131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496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87720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54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85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55512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1585543"/>
            <a:ext cx="4144257" cy="814580"/>
          </a:xfrm>
        </p:spPr>
        <p:txBody>
          <a:bodyPr vert="horz" lIns="0" tIns="0" rIns="0" bIns="0">
            <a:noAutofit/>
          </a:bodyPr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770" y="1585543"/>
            <a:ext cx="6883381" cy="3623817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614"/>
            </a:lvl6pPr>
            <a:lvl7pPr>
              <a:defRPr sz="2614"/>
            </a:lvl7pPr>
            <a:lvl8pPr>
              <a:defRPr sz="2614"/>
            </a:lvl8pPr>
            <a:lvl9pPr>
              <a:defRPr sz="26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2400125"/>
            <a:ext cx="4144257" cy="358021"/>
          </a:xfrm>
        </p:spPr>
        <p:txBody>
          <a:bodyPr lIns="0" tIns="0" rIns="0" bIns="0"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83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8025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898448"/>
            <a:ext cx="11170775" cy="362043"/>
          </a:xfrm>
        </p:spPr>
        <p:txBody>
          <a:bodyPr vert="horz" lIns="0" tIns="0" rIns="0" bIns="0"/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4377" y="1356896"/>
            <a:ext cx="11170775" cy="3318545"/>
          </a:xfrm>
        </p:spPr>
        <p:txBody>
          <a:bodyPr/>
          <a:lstStyle>
            <a:lvl1pPr marL="0" indent="0">
              <a:buNone/>
              <a:defRPr sz="4182"/>
            </a:lvl1pPr>
            <a:lvl2pPr marL="597454" indent="0">
              <a:buNone/>
              <a:defRPr sz="3659"/>
            </a:lvl2pPr>
            <a:lvl3pPr marL="1194909" indent="0">
              <a:buNone/>
              <a:defRPr sz="3136"/>
            </a:lvl3pPr>
            <a:lvl4pPr marL="1792362" indent="0">
              <a:buNone/>
              <a:defRPr sz="2614"/>
            </a:lvl4pPr>
            <a:lvl5pPr marL="2389816" indent="0">
              <a:buNone/>
              <a:defRPr sz="2614"/>
            </a:lvl5pPr>
            <a:lvl6pPr marL="2987270" indent="0">
              <a:buNone/>
              <a:defRPr sz="2614"/>
            </a:lvl6pPr>
            <a:lvl7pPr marL="3584725" indent="0">
              <a:buNone/>
              <a:defRPr sz="2614"/>
            </a:lvl7pPr>
            <a:lvl8pPr marL="4182178" indent="0">
              <a:buNone/>
              <a:defRPr sz="2614"/>
            </a:lvl8pPr>
            <a:lvl9pPr marL="4779632" indent="0">
              <a:buNone/>
              <a:defRPr sz="2614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5260489"/>
            <a:ext cx="11170775" cy="358021"/>
          </a:xfrm>
        </p:spPr>
        <p:txBody>
          <a:bodyPr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3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092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191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49997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0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84377" y="1513531"/>
            <a:ext cx="3616694" cy="1466017"/>
          </a:xfrm>
          <a:noFill/>
          <a:effectLst/>
        </p:spPr>
        <p:txBody>
          <a:bodyPr vert="horz" wrap="square" lIns="0" tIns="0" rIns="0" bIns="0" anchor="b">
            <a:noAutofit/>
          </a:bodyPr>
          <a:lstStyle>
            <a:lvl1pPr>
              <a:defRPr sz="2940">
                <a:solidFill>
                  <a:srgbClr val="009AA6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23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3689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solidFill>
              <a:schemeClr val="bg1"/>
            </a:solidFill>
          </a:ln>
          <a:effectLst/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132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2614" y="3606756"/>
            <a:ext cx="1148963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036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33297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460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3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2920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136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096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03286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32004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245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263374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38430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68724"/>
            <a:ext cx="6356163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92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69340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 baseline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29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2101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 sz="294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7545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7188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44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2049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334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64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717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576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713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 w="1079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9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6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 userDrawn="1">
            <p:ph type="title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991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66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642605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14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10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85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36276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99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97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0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556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81006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1763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341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3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47705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84377" y="2116008"/>
            <a:ext cx="3902485" cy="530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568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1202621"/>
            <a:ext cx="3902485" cy="651563"/>
          </a:xfrm>
          <a:effectLst/>
        </p:spPr>
        <p:txBody>
          <a:bodyPr vert="horz" lIns="0" tIns="0" rIns="0" bIns="0" anchor="t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5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5180" y="1395732"/>
            <a:ext cx="932761" cy="932775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0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62615" y="3606756"/>
            <a:ext cx="114831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83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597454"/>
            <a:endParaRPr lang="en-US" sz="2091" dirty="0">
              <a:solidFill>
                <a:srgbClr val="5353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3858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52265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8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306325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50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49367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54293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809502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741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12627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03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5721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97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04190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6357079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097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3853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419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2487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13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2608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88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3327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6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7/25/2023</a:t>
            </a:fld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221059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880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28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921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830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31881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02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4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9893284" cy="497721"/>
          </a:xfrm>
          <a:effectLst/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187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62615" y="2470420"/>
            <a:ext cx="2918067" cy="1780636"/>
          </a:xfrm>
          <a:prstGeom prst="rect">
            <a:avLst/>
          </a:prstGeom>
          <a:noFill/>
        </p:spPr>
        <p:txBody>
          <a:bodyPr wrap="square" lIns="89618" tIns="44809" rIns="89618" bIns="44809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982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31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7/25/2023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680995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910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957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02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62783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2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124" name="Straight Connector 123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13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02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03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8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7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10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2656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7449" y="889138"/>
            <a:ext cx="3380094" cy="342347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072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19597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609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87401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8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14373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2615" y="3156483"/>
            <a:ext cx="1516321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2704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7449" y="889137"/>
            <a:ext cx="3380094" cy="3423471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31F0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960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170119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152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5.xml"/><Relationship Id="rId7" Type="http://schemas.openxmlformats.org/officeDocument/2006/relationships/theme" Target="../theme/theme3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image" Target="../media/image10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68.xml"/><Relationship Id="rId47" Type="http://schemas.openxmlformats.org/officeDocument/2006/relationships/slideLayout" Target="../slideLayouts/slideLayout73.xml"/><Relationship Id="rId63" Type="http://schemas.openxmlformats.org/officeDocument/2006/relationships/slideLayout" Target="../slideLayouts/slideLayout89.xml"/><Relationship Id="rId68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3" Type="http://schemas.openxmlformats.org/officeDocument/2006/relationships/slideLayout" Target="../slideLayouts/slideLayout79.xml"/><Relationship Id="rId58" Type="http://schemas.openxmlformats.org/officeDocument/2006/relationships/slideLayout" Target="../slideLayouts/slideLayout84.xml"/><Relationship Id="rId66" Type="http://schemas.openxmlformats.org/officeDocument/2006/relationships/slideLayout" Target="../slideLayouts/slideLayout92.xml"/><Relationship Id="rId74" Type="http://schemas.openxmlformats.org/officeDocument/2006/relationships/slideLayout" Target="../slideLayouts/slideLayout100.xml"/><Relationship Id="rId79" Type="http://schemas.openxmlformats.org/officeDocument/2006/relationships/oleObject" Target="../embeddings/oleObject8.bin"/><Relationship Id="rId5" Type="http://schemas.openxmlformats.org/officeDocument/2006/relationships/slideLayout" Target="../slideLayouts/slideLayout31.xml"/><Relationship Id="rId61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48" Type="http://schemas.openxmlformats.org/officeDocument/2006/relationships/slideLayout" Target="../slideLayouts/slideLayout74.xml"/><Relationship Id="rId56" Type="http://schemas.openxmlformats.org/officeDocument/2006/relationships/slideLayout" Target="../slideLayouts/slideLayout82.xml"/><Relationship Id="rId64" Type="http://schemas.openxmlformats.org/officeDocument/2006/relationships/slideLayout" Target="../slideLayouts/slideLayout90.xml"/><Relationship Id="rId69" Type="http://schemas.openxmlformats.org/officeDocument/2006/relationships/slideLayout" Target="../slideLayouts/slideLayout95.xml"/><Relationship Id="rId77" Type="http://schemas.openxmlformats.org/officeDocument/2006/relationships/theme" Target="../theme/theme4.xml"/><Relationship Id="rId8" Type="http://schemas.openxmlformats.org/officeDocument/2006/relationships/slideLayout" Target="../slideLayouts/slideLayout34.xml"/><Relationship Id="rId51" Type="http://schemas.openxmlformats.org/officeDocument/2006/relationships/slideLayout" Target="../slideLayouts/slideLayout77.xml"/><Relationship Id="rId72" Type="http://schemas.openxmlformats.org/officeDocument/2006/relationships/slideLayout" Target="../slideLayouts/slideLayout98.xml"/><Relationship Id="rId80" Type="http://schemas.openxmlformats.org/officeDocument/2006/relationships/image" Target="../media/image19.emf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slideLayout" Target="../slideLayouts/slideLayout72.xml"/><Relationship Id="rId59" Type="http://schemas.openxmlformats.org/officeDocument/2006/relationships/slideLayout" Target="../slideLayouts/slideLayout85.xml"/><Relationship Id="rId67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Relationship Id="rId54" Type="http://schemas.openxmlformats.org/officeDocument/2006/relationships/slideLayout" Target="../slideLayouts/slideLayout80.xml"/><Relationship Id="rId62" Type="http://schemas.openxmlformats.org/officeDocument/2006/relationships/slideLayout" Target="../slideLayouts/slideLayout88.xml"/><Relationship Id="rId70" Type="http://schemas.openxmlformats.org/officeDocument/2006/relationships/slideLayout" Target="../slideLayouts/slideLayout96.xml"/><Relationship Id="rId75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slideLayout" Target="../slideLayouts/slideLayout75.xml"/><Relationship Id="rId57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52" Type="http://schemas.openxmlformats.org/officeDocument/2006/relationships/slideLayout" Target="../slideLayouts/slideLayout78.xml"/><Relationship Id="rId60" Type="http://schemas.openxmlformats.org/officeDocument/2006/relationships/slideLayout" Target="../slideLayouts/slideLayout86.xml"/><Relationship Id="rId65" Type="http://schemas.openxmlformats.org/officeDocument/2006/relationships/slideLayout" Target="../slideLayouts/slideLayout91.xml"/><Relationship Id="rId73" Type="http://schemas.openxmlformats.org/officeDocument/2006/relationships/slideLayout" Target="../slideLayouts/slideLayout99.xml"/><Relationship Id="rId78" Type="http://schemas.openxmlformats.org/officeDocument/2006/relationships/tags" Target="../tags/tag50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76.xml"/><Relationship Id="rId55" Type="http://schemas.openxmlformats.org/officeDocument/2006/relationships/slideLayout" Target="../slideLayouts/slideLayout81.xml"/><Relationship Id="rId76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33.xml"/><Relationship Id="rId71" Type="http://schemas.openxmlformats.org/officeDocument/2006/relationships/slideLayout" Target="../slideLayouts/slideLayout97.xml"/><Relationship Id="rId2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0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1" r:id="rId2"/>
    <p:sldLayoutId id="2147483678" r:id="rId3"/>
    <p:sldLayoutId id="2147483679" r:id="rId4"/>
    <p:sldLayoutId id="2147483680" r:id="rId5"/>
    <p:sldLayoutId id="2147483689" r:id="rId6"/>
    <p:sldLayoutId id="2147483690" r:id="rId7"/>
    <p:sldLayoutId id="2147483692" r:id="rId8"/>
    <p:sldLayoutId id="2147483693" r:id="rId9"/>
    <p:sldLayoutId id="2147483706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16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1140409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42936" y="6000314"/>
            <a:ext cx="7133620" cy="12066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784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43685" y="168784"/>
            <a:ext cx="10861744" cy="71695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1947619" cy="6721475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56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051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43685" y="1291614"/>
            <a:ext cx="441470" cy="1206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784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868452" y="2127585"/>
            <a:ext cx="2988506" cy="558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68" dirty="0"/>
              <a:t>Above Chart Exhibit Title</a:t>
            </a:r>
          </a:p>
          <a:p>
            <a:pPr lvl="0"/>
            <a:r>
              <a:rPr lang="en-US" sz="1568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3685" y="2127586"/>
            <a:ext cx="4723908" cy="13574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2494289-F853-4E36-A34A-2024C848B212}"/>
              </a:ext>
            </a:extLst>
          </p:cNvPr>
          <p:cNvGrpSpPr/>
          <p:nvPr userDrawn="1"/>
        </p:nvGrpSpPr>
        <p:grpSpPr>
          <a:xfrm>
            <a:off x="10111764" y="3087510"/>
            <a:ext cx="1293664" cy="939209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776B83E0-A1B9-44E7-B344-07CA4591B1B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AE107ECD-25AF-4CA1-8439-FAA30921236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D76D524C-691C-4842-9883-0B26806AB56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3A1F266-CB01-4FC1-9F27-F56F9701DF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5F8DC16-797F-4DD7-830F-1106AA4F98D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0A2C4AE3-AF47-4488-8521-F19747B82CA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76E35A2-71C0-488F-BAA3-555F74F3EB0C}"/>
              </a:ext>
            </a:extLst>
          </p:cNvPr>
          <p:cNvGrpSpPr/>
          <p:nvPr userDrawn="1"/>
        </p:nvGrpSpPr>
        <p:grpSpPr>
          <a:xfrm>
            <a:off x="10475385" y="1122572"/>
            <a:ext cx="930044" cy="1697382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F1A53F8-EBB5-43DB-896D-AD0E24A1A0C3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713D011-DD68-478E-8D9D-EA6BF84F7A73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5BEEAF-B1C0-460C-B3C0-64755870893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BA90A98B-00E2-4FCA-B442-8F8AB0B9ECA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0E8F53D-D26E-4BEC-8536-7DBEC5639E2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A9CFB33E-5CE6-450F-81C8-211CAE16AA8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984DA8D8-89DB-4C62-BA61-98BF7EE68719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B3411F63-2131-455D-99D7-52CE507E1094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270C655-1709-4641-A07F-A612696BC71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B4BAE99-0E1F-4CE3-9C4B-B2BAA3F661C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A54E084-F3B8-4BFC-AFF0-A67A8159913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2E11396-F30D-4AC3-9B73-CCB81C737057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E9974FCF-450E-4DDB-A91D-8B1E45B15A0C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8B253C2-35AC-4189-A904-2087EEC61DD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C457FCE2-91AF-4303-BED7-A3888BB9DC7F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D50DE59-0B6B-41B8-AFB1-59F1AEE6D2D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2A88CAB4-7A3D-4F9E-8EF1-3CA168E91F0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233CC02-1368-4A0A-B9DA-FAD4922BAA4B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2EC13B5-329F-42C0-9A0E-7479B50F942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A766F071-3B6C-41AE-804F-95E4197AF53E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20050E4B-427F-4541-812A-EA21EAD5E073}"/>
              </a:ext>
            </a:extLst>
          </p:cNvPr>
          <p:cNvGrpSpPr/>
          <p:nvPr userDrawn="1"/>
        </p:nvGrpSpPr>
        <p:grpSpPr>
          <a:xfrm>
            <a:off x="10501343" y="4294276"/>
            <a:ext cx="904086" cy="1683095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E3FB44AE-1AF6-4D55-B22F-2E72093FC7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FCE01506-736E-4973-9694-CBF3935356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C9DD377-EDBA-410F-8986-BCDE16B4580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6CB72BD-0837-4D8C-B175-ADE60A82B94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887535B-93E3-4590-861F-426B392450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AE215C2-2230-43F4-86FF-1C9A32F3A619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B24A6A50-57F6-4603-9A0B-1C0505F8D44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5CB238A0-0230-44D4-B85C-F2CC08F4FC8B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70E7AE02-F4C6-4AEC-A5B1-8DCA188E225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1BD101B-C40C-4D74-AEE3-AC942A1195E8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193F61D9-062A-4161-A67E-F9A7A9A8D00E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543685" y="930436"/>
            <a:ext cx="10861744" cy="1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pic>
        <p:nvPicPr>
          <p:cNvPr id="52752" name="Picture 528" descr="Bausch + Lomb Logo : Bausch + Lomb">
            <a:extLst>
              <a:ext uri="{FF2B5EF4-FFF2-40B4-BE49-F238E27FC236}">
                <a16:creationId xmlns:a16="http://schemas.microsoft.com/office/drawing/2014/main" id="{49BAB69B-EBE8-4D33-872A-0062C9974DF2}"/>
              </a:ext>
            </a:extLst>
          </p:cNvPr>
          <p:cNvPicPr>
            <a:picLocks noChangeArrowheads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12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96" r:id="rId5"/>
    <p:sldLayoutId id="2147483797" r:id="rId6"/>
  </p:sldLayoutIdLst>
  <p:hf hdr="0" dt="0"/>
  <p:txStyles>
    <p:titleStyle>
      <a:lvl1pPr algn="l" defTabSz="896203" rtl="0" eaLnBrk="1" latinLnBrk="0" hangingPunct="1">
        <a:lnSpc>
          <a:spcPct val="100000"/>
        </a:lnSpc>
        <a:spcBef>
          <a:spcPct val="0"/>
        </a:spcBef>
        <a:buNone/>
        <a:defRPr lang="en-US" sz="245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96203" rtl="0" eaLnBrk="1" latinLnBrk="0" hangingPunct="1">
        <a:lnSpc>
          <a:spcPct val="100000"/>
        </a:lnSpc>
        <a:spcBef>
          <a:spcPts val="294"/>
        </a:spcBef>
        <a:spcAft>
          <a:spcPts val="294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68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4051" indent="-220939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4099" indent="-21004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86578" indent="-149367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01293" indent="-14470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2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228112800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2615" y="330212"/>
            <a:ext cx="9893284" cy="520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84377" y="1810331"/>
            <a:ext cx="11170775" cy="4097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20438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  <p:sldLayoutId id="2147483750" r:id="rId38"/>
    <p:sldLayoutId id="2147483751" r:id="rId39"/>
    <p:sldLayoutId id="2147483752" r:id="rId40"/>
    <p:sldLayoutId id="2147483753" r:id="rId41"/>
    <p:sldLayoutId id="2147483754" r:id="rId42"/>
    <p:sldLayoutId id="2147483755" r:id="rId43"/>
    <p:sldLayoutId id="2147483756" r:id="rId44"/>
    <p:sldLayoutId id="2147483757" r:id="rId45"/>
    <p:sldLayoutId id="2147483758" r:id="rId46"/>
    <p:sldLayoutId id="2147483759" r:id="rId47"/>
    <p:sldLayoutId id="2147483760" r:id="rId48"/>
    <p:sldLayoutId id="2147483761" r:id="rId49"/>
    <p:sldLayoutId id="2147483762" r:id="rId50"/>
    <p:sldLayoutId id="2147483763" r:id="rId51"/>
    <p:sldLayoutId id="2147483764" r:id="rId52"/>
    <p:sldLayoutId id="2147483765" r:id="rId53"/>
    <p:sldLayoutId id="2147483766" r:id="rId54"/>
    <p:sldLayoutId id="2147483767" r:id="rId55"/>
    <p:sldLayoutId id="2147483768" r:id="rId56"/>
    <p:sldLayoutId id="2147483769" r:id="rId57"/>
    <p:sldLayoutId id="2147483770" r:id="rId58"/>
    <p:sldLayoutId id="2147483771" r:id="rId59"/>
    <p:sldLayoutId id="2147483772" r:id="rId60"/>
    <p:sldLayoutId id="2147483773" r:id="rId61"/>
    <p:sldLayoutId id="2147483774" r:id="rId62"/>
    <p:sldLayoutId id="2147483775" r:id="rId63"/>
    <p:sldLayoutId id="2147483776" r:id="rId64"/>
    <p:sldLayoutId id="2147483777" r:id="rId65"/>
    <p:sldLayoutId id="2147483778" r:id="rId66"/>
    <p:sldLayoutId id="2147483779" r:id="rId67"/>
    <p:sldLayoutId id="2147483780" r:id="rId68"/>
    <p:sldLayoutId id="2147483781" r:id="rId69"/>
    <p:sldLayoutId id="2147483782" r:id="rId70"/>
    <p:sldLayoutId id="2147483783" r:id="rId71"/>
    <p:sldLayoutId id="2147483784" r:id="rId72"/>
    <p:sldLayoutId id="2147483785" r:id="rId73"/>
    <p:sldLayoutId id="2147483786" r:id="rId74"/>
    <p:sldLayoutId id="2147483787" r:id="rId75"/>
    <p:sldLayoutId id="2147483788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6203" rtl="0" eaLnBrk="1" latinLnBrk="0" hangingPunct="1">
        <a:lnSpc>
          <a:spcPct val="90000"/>
        </a:lnSpc>
        <a:spcBef>
          <a:spcPct val="0"/>
        </a:spcBef>
        <a:buNone/>
        <a:defRPr kumimoji="0" lang="en-US" sz="2940" b="0" i="0" u="none" strike="noStrike" kern="0" cap="none" spc="0" normalizeH="0" baseline="0" dirty="0">
          <a:ln>
            <a:noFill/>
          </a:ln>
          <a:solidFill>
            <a:srgbClr val="FFFFFF"/>
          </a:solidFill>
          <a:effectLst/>
          <a:uLnTx/>
          <a:uFillTx/>
          <a:latin typeface="Calibri"/>
          <a:ea typeface="ＭＳ Ｐゴシック"/>
          <a:cs typeface="+mj-cs"/>
          <a:sym typeface="Trebuchet MS" panose="020B0603020202020204" pitchFamily="34" charset="0"/>
        </a:defRPr>
      </a:lvl1pPr>
    </p:titleStyle>
    <p:bodyStyle>
      <a:lvl1pPr marL="0" indent="0" algn="l" defTabSz="896203" rtl="0" eaLnBrk="1" latinLnBrk="0" hangingPunct="1">
        <a:lnSpc>
          <a:spcPct val="110000"/>
        </a:lnSpc>
        <a:spcBef>
          <a:spcPts val="588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8740" indent="-169361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•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01027" indent="-162305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Trebuchet MS" panose="020B0603020202020204" pitchFamily="34" charset="0"/>
        <a:buChar char="–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96203" rtl="0" eaLnBrk="1" latinLnBrk="0" hangingPunct="1">
        <a:lnSpc>
          <a:spcPct val="110000"/>
        </a:lnSpc>
        <a:spcBef>
          <a:spcPts val="294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kern="120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b="1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4504" indent="-149367" algn="l" defTabSz="896203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9AA6"/>
        </a:buClr>
        <a:buFont typeface="Arial" panose="020B0604020202020204" pitchFamily="34" charset="0"/>
        <a:buChar char="•"/>
        <a:defRPr lang="en-US" sz="1568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4312" kern="1200" baseline="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0"/>
        </a:spcAft>
        <a:buClr>
          <a:srgbClr val="009AA6"/>
        </a:buClr>
        <a:buFont typeface="Arial" panose="020B0604020202020204" pitchFamily="34" charset="0"/>
        <a:buChar char="​"/>
        <a:defRPr lang="en-US" sz="5293" kern="1200" baseline="0" smtClean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2352" kern="1200" baseline="0" dirty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9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3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56" y="1606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6" y="1606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783885" y="2463247"/>
            <a:ext cx="7902347" cy="867930"/>
          </a:xfrm>
        </p:spPr>
        <p:txBody>
          <a:bodyPr vert="horz"/>
          <a:lstStyle/>
          <a:p>
            <a:r>
              <a:rPr lang="en-US" sz="2800" b="1" dirty="0"/>
              <a:t>US Consumer eCommerce Shopify Implementation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783886" y="3659470"/>
            <a:ext cx="7567772" cy="478272"/>
          </a:xfrm>
        </p:spPr>
        <p:txBody>
          <a:bodyPr/>
          <a:lstStyle/>
          <a:p>
            <a:pPr>
              <a:buNone/>
            </a:pPr>
            <a:r>
              <a:rPr lang="en-US" sz="2400" dirty="0"/>
              <a:t>Order Man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FB62BF-B627-4197-8A0A-AF25B9290C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83886" y="4347615"/>
            <a:ext cx="7567772" cy="461665"/>
          </a:xfrm>
        </p:spPr>
        <p:txBody>
          <a:bodyPr/>
          <a:lstStyle/>
          <a:p>
            <a:r>
              <a:rPr lang="en-US" sz="2400" dirty="0"/>
              <a:t>Mar 14</a:t>
            </a:r>
            <a:r>
              <a:rPr lang="en-US" sz="2400" baseline="30000" dirty="0"/>
              <a:t>th</a:t>
            </a:r>
            <a:r>
              <a:rPr lang="en-US" sz="2400" dirty="0"/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8006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159B34-F1DA-C9CD-9C54-40DC7BADF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718" y="1081372"/>
            <a:ext cx="8759677" cy="53810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F7C201C6-087F-FEA9-C742-12AA06209ADE}"/>
              </a:ext>
            </a:extLst>
          </p:cNvPr>
          <p:cNvSpPr/>
          <p:nvPr/>
        </p:nvSpPr>
        <p:spPr>
          <a:xfrm>
            <a:off x="6879580" y="4048125"/>
            <a:ext cx="1773743" cy="494644"/>
          </a:xfrm>
          <a:custGeom>
            <a:avLst/>
            <a:gdLst>
              <a:gd name="connsiteX0" fmla="*/ 0 w 1773743"/>
              <a:gd name="connsiteY0" fmla="*/ 247322 h 494644"/>
              <a:gd name="connsiteX1" fmla="*/ 886872 w 1773743"/>
              <a:gd name="connsiteY1" fmla="*/ 0 h 494644"/>
              <a:gd name="connsiteX2" fmla="*/ 1773744 w 1773743"/>
              <a:gd name="connsiteY2" fmla="*/ 247322 h 494644"/>
              <a:gd name="connsiteX3" fmla="*/ 886872 w 1773743"/>
              <a:gd name="connsiteY3" fmla="*/ 494644 h 494644"/>
              <a:gd name="connsiteX4" fmla="*/ 0 w 1773743"/>
              <a:gd name="connsiteY4" fmla="*/ 247322 h 49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3743" h="494644" extrusionOk="0">
                <a:moveTo>
                  <a:pt x="0" y="247322"/>
                </a:moveTo>
                <a:cubicBezTo>
                  <a:pt x="-36789" y="88038"/>
                  <a:pt x="342173" y="20602"/>
                  <a:pt x="886872" y="0"/>
                </a:cubicBezTo>
                <a:cubicBezTo>
                  <a:pt x="1407598" y="6509"/>
                  <a:pt x="1755058" y="111324"/>
                  <a:pt x="1773744" y="247322"/>
                </a:cubicBezTo>
                <a:cubicBezTo>
                  <a:pt x="1757206" y="400064"/>
                  <a:pt x="1370802" y="527122"/>
                  <a:pt x="886872" y="494644"/>
                </a:cubicBezTo>
                <a:cubicBezTo>
                  <a:pt x="375229" y="482696"/>
                  <a:pt x="11697" y="389503"/>
                  <a:pt x="0" y="24732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B735C5-9F14-2E31-085C-CBCEFE544A8F}"/>
              </a:ext>
            </a:extLst>
          </p:cNvPr>
          <p:cNvSpPr/>
          <p:nvPr/>
        </p:nvSpPr>
        <p:spPr>
          <a:xfrm>
            <a:off x="8468212" y="3702636"/>
            <a:ext cx="2359342" cy="49464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3. Add note as “#1029”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1557F33-7D65-0FD6-8E7D-581E9926F88E}"/>
              </a:ext>
            </a:extLst>
          </p:cNvPr>
          <p:cNvSpPr/>
          <p:nvPr/>
        </p:nvSpPr>
        <p:spPr>
          <a:xfrm>
            <a:off x="6677025" y="5134886"/>
            <a:ext cx="1846683" cy="332173"/>
          </a:xfrm>
          <a:custGeom>
            <a:avLst/>
            <a:gdLst>
              <a:gd name="connsiteX0" fmla="*/ 0 w 1846683"/>
              <a:gd name="connsiteY0" fmla="*/ 166087 h 332173"/>
              <a:gd name="connsiteX1" fmla="*/ 923342 w 1846683"/>
              <a:gd name="connsiteY1" fmla="*/ 0 h 332173"/>
              <a:gd name="connsiteX2" fmla="*/ 1846684 w 1846683"/>
              <a:gd name="connsiteY2" fmla="*/ 166087 h 332173"/>
              <a:gd name="connsiteX3" fmla="*/ 923342 w 1846683"/>
              <a:gd name="connsiteY3" fmla="*/ 332174 h 332173"/>
              <a:gd name="connsiteX4" fmla="*/ 0 w 1846683"/>
              <a:gd name="connsiteY4" fmla="*/ 166087 h 332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6683" h="332173" extrusionOk="0">
                <a:moveTo>
                  <a:pt x="0" y="166087"/>
                </a:moveTo>
                <a:cubicBezTo>
                  <a:pt x="-8120" y="69351"/>
                  <a:pt x="383316" y="11289"/>
                  <a:pt x="923342" y="0"/>
                </a:cubicBezTo>
                <a:cubicBezTo>
                  <a:pt x="1442647" y="1970"/>
                  <a:pt x="1838009" y="74636"/>
                  <a:pt x="1846684" y="166087"/>
                </a:cubicBezTo>
                <a:cubicBezTo>
                  <a:pt x="1814117" y="289618"/>
                  <a:pt x="1415186" y="432239"/>
                  <a:pt x="923342" y="332174"/>
                </a:cubicBezTo>
                <a:cubicBezTo>
                  <a:pt x="399536" y="324592"/>
                  <a:pt x="5180" y="260289"/>
                  <a:pt x="0" y="16608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FF58BA-0202-5D9E-0C8C-106F8C669800}"/>
              </a:ext>
            </a:extLst>
          </p:cNvPr>
          <p:cNvSpPr/>
          <p:nvPr/>
        </p:nvSpPr>
        <p:spPr>
          <a:xfrm>
            <a:off x="8207535" y="5134887"/>
            <a:ext cx="2620019" cy="67829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5. Add “Replacement” tag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62DD3BE-8633-DF8F-71C3-4CE33F081644}"/>
              </a:ext>
            </a:extLst>
          </p:cNvPr>
          <p:cNvSpPr/>
          <p:nvPr/>
        </p:nvSpPr>
        <p:spPr>
          <a:xfrm>
            <a:off x="2115568" y="4324280"/>
            <a:ext cx="2370707" cy="494644"/>
          </a:xfrm>
          <a:custGeom>
            <a:avLst/>
            <a:gdLst>
              <a:gd name="connsiteX0" fmla="*/ 0 w 2370707"/>
              <a:gd name="connsiteY0" fmla="*/ 247322 h 494644"/>
              <a:gd name="connsiteX1" fmla="*/ 1185354 w 2370707"/>
              <a:gd name="connsiteY1" fmla="*/ 0 h 494644"/>
              <a:gd name="connsiteX2" fmla="*/ 2370708 w 2370707"/>
              <a:gd name="connsiteY2" fmla="*/ 247322 h 494644"/>
              <a:gd name="connsiteX3" fmla="*/ 1185354 w 2370707"/>
              <a:gd name="connsiteY3" fmla="*/ 494644 h 494644"/>
              <a:gd name="connsiteX4" fmla="*/ 0 w 2370707"/>
              <a:gd name="connsiteY4" fmla="*/ 247322 h 49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70707" h="494644" extrusionOk="0">
                <a:moveTo>
                  <a:pt x="0" y="247322"/>
                </a:moveTo>
                <a:cubicBezTo>
                  <a:pt x="-81428" y="60504"/>
                  <a:pt x="446856" y="31468"/>
                  <a:pt x="1185354" y="0"/>
                </a:cubicBezTo>
                <a:cubicBezTo>
                  <a:pt x="1870927" y="6509"/>
                  <a:pt x="2352022" y="111324"/>
                  <a:pt x="2370708" y="247322"/>
                </a:cubicBezTo>
                <a:cubicBezTo>
                  <a:pt x="2309467" y="443719"/>
                  <a:pt x="1832616" y="535499"/>
                  <a:pt x="1185354" y="494644"/>
                </a:cubicBezTo>
                <a:cubicBezTo>
                  <a:pt x="508864" y="482696"/>
                  <a:pt x="11697" y="389503"/>
                  <a:pt x="0" y="24732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4C58D-A0EB-C8BC-8609-C6133D5EF403}"/>
              </a:ext>
            </a:extLst>
          </p:cNvPr>
          <p:cNvSpPr/>
          <p:nvPr/>
        </p:nvSpPr>
        <p:spPr>
          <a:xfrm>
            <a:off x="2334642" y="4128648"/>
            <a:ext cx="2370708" cy="29510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4. Add comment if necessary</a:t>
            </a:r>
          </a:p>
        </p:txBody>
      </p:sp>
    </p:spTree>
    <p:extLst>
      <p:ext uri="{BB962C8B-B14F-4D97-AF65-F5344CB8AC3E}">
        <p14:creationId xmlns:p14="http://schemas.microsoft.com/office/powerpoint/2010/main" val="5006547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C77F40-56CF-0441-AA51-8B46ED82D1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093" y="1009864"/>
            <a:ext cx="9856927" cy="56903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746252" y="4163232"/>
            <a:ext cx="2319146" cy="313047"/>
          </a:xfrm>
          <a:custGeom>
            <a:avLst/>
            <a:gdLst>
              <a:gd name="connsiteX0" fmla="*/ 0 w 2319146"/>
              <a:gd name="connsiteY0" fmla="*/ 156524 h 313047"/>
              <a:gd name="connsiteX1" fmla="*/ 1159573 w 2319146"/>
              <a:gd name="connsiteY1" fmla="*/ 0 h 313047"/>
              <a:gd name="connsiteX2" fmla="*/ 2319146 w 2319146"/>
              <a:gd name="connsiteY2" fmla="*/ 156524 h 313047"/>
              <a:gd name="connsiteX3" fmla="*/ 1159573 w 2319146"/>
              <a:gd name="connsiteY3" fmla="*/ 313048 h 313047"/>
              <a:gd name="connsiteX4" fmla="*/ 0 w 2319146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9146" h="313047" extrusionOk="0">
                <a:moveTo>
                  <a:pt x="0" y="156524"/>
                </a:moveTo>
                <a:cubicBezTo>
                  <a:pt x="-69543" y="27183"/>
                  <a:pt x="438204" y="30384"/>
                  <a:pt x="1159573" y="0"/>
                </a:cubicBezTo>
                <a:cubicBezTo>
                  <a:pt x="1818322" y="3860"/>
                  <a:pt x="2299282" y="70710"/>
                  <a:pt x="2319146" y="156524"/>
                </a:cubicBezTo>
                <a:cubicBezTo>
                  <a:pt x="2237627" y="322577"/>
                  <a:pt x="1780565" y="420402"/>
                  <a:pt x="1159573" y="313048"/>
                </a:cubicBezTo>
                <a:cubicBezTo>
                  <a:pt x="513978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9157946" y="4481034"/>
            <a:ext cx="1090954" cy="3130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6. Not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8F336D4-3340-5337-717E-D2522BCFA105}"/>
              </a:ext>
            </a:extLst>
          </p:cNvPr>
          <p:cNvSpPr/>
          <p:nvPr/>
        </p:nvSpPr>
        <p:spPr>
          <a:xfrm>
            <a:off x="7661746" y="5237664"/>
            <a:ext cx="2291685" cy="749501"/>
          </a:xfrm>
          <a:custGeom>
            <a:avLst/>
            <a:gdLst>
              <a:gd name="connsiteX0" fmla="*/ 0 w 2291685"/>
              <a:gd name="connsiteY0" fmla="*/ 374751 h 749501"/>
              <a:gd name="connsiteX1" fmla="*/ 1145843 w 2291685"/>
              <a:gd name="connsiteY1" fmla="*/ 0 h 749501"/>
              <a:gd name="connsiteX2" fmla="*/ 2291686 w 2291685"/>
              <a:gd name="connsiteY2" fmla="*/ 374751 h 749501"/>
              <a:gd name="connsiteX3" fmla="*/ 1145843 w 2291685"/>
              <a:gd name="connsiteY3" fmla="*/ 749502 h 749501"/>
              <a:gd name="connsiteX4" fmla="*/ 0 w 2291685"/>
              <a:gd name="connsiteY4" fmla="*/ 374751 h 74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1685" h="749501" extrusionOk="0">
                <a:moveTo>
                  <a:pt x="0" y="374751"/>
                </a:moveTo>
                <a:cubicBezTo>
                  <a:pt x="-100126" y="106022"/>
                  <a:pt x="447314" y="24657"/>
                  <a:pt x="1145843" y="0"/>
                </a:cubicBezTo>
                <a:cubicBezTo>
                  <a:pt x="1825777" y="9916"/>
                  <a:pt x="2259912" y="168792"/>
                  <a:pt x="2291686" y="374751"/>
                </a:cubicBezTo>
                <a:cubicBezTo>
                  <a:pt x="2262785" y="609943"/>
                  <a:pt x="1764447" y="828144"/>
                  <a:pt x="1145843" y="749502"/>
                </a:cubicBezTo>
                <a:cubicBezTo>
                  <a:pt x="491414" y="737686"/>
                  <a:pt x="35669" y="598763"/>
                  <a:pt x="0" y="37475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06F8E5-CA30-9048-3C44-326DFE6C91F0}"/>
              </a:ext>
            </a:extLst>
          </p:cNvPr>
          <p:cNvSpPr/>
          <p:nvPr/>
        </p:nvSpPr>
        <p:spPr>
          <a:xfrm>
            <a:off x="9550845" y="5905500"/>
            <a:ext cx="936179" cy="32148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8. T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674964-3244-958C-CB10-38B0CA0F7D00}"/>
              </a:ext>
            </a:extLst>
          </p:cNvPr>
          <p:cNvSpPr/>
          <p:nvPr/>
        </p:nvSpPr>
        <p:spPr>
          <a:xfrm>
            <a:off x="1810767" y="4240511"/>
            <a:ext cx="1322957" cy="3130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7. Commen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40C614-9164-DBC9-F590-A7173685BC69}"/>
              </a:ext>
            </a:extLst>
          </p:cNvPr>
          <p:cNvSpPr/>
          <p:nvPr/>
        </p:nvSpPr>
        <p:spPr>
          <a:xfrm>
            <a:off x="1620268" y="4544668"/>
            <a:ext cx="2445546" cy="313047"/>
          </a:xfrm>
          <a:custGeom>
            <a:avLst/>
            <a:gdLst>
              <a:gd name="connsiteX0" fmla="*/ 0 w 2445546"/>
              <a:gd name="connsiteY0" fmla="*/ 156524 h 313047"/>
              <a:gd name="connsiteX1" fmla="*/ 1222773 w 2445546"/>
              <a:gd name="connsiteY1" fmla="*/ 0 h 313047"/>
              <a:gd name="connsiteX2" fmla="*/ 2445546 w 2445546"/>
              <a:gd name="connsiteY2" fmla="*/ 156524 h 313047"/>
              <a:gd name="connsiteX3" fmla="*/ 1222773 w 2445546"/>
              <a:gd name="connsiteY3" fmla="*/ 313048 h 313047"/>
              <a:gd name="connsiteX4" fmla="*/ 0 w 2445546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5546" h="313047" extrusionOk="0">
                <a:moveTo>
                  <a:pt x="0" y="156524"/>
                </a:moveTo>
                <a:cubicBezTo>
                  <a:pt x="-65454" y="29704"/>
                  <a:pt x="428696" y="44572"/>
                  <a:pt x="1222773" y="0"/>
                </a:cubicBezTo>
                <a:cubicBezTo>
                  <a:pt x="1916427" y="3860"/>
                  <a:pt x="2425682" y="70710"/>
                  <a:pt x="2445546" y="156524"/>
                </a:cubicBezTo>
                <a:cubicBezTo>
                  <a:pt x="2423605" y="264396"/>
                  <a:pt x="1875376" y="438608"/>
                  <a:pt x="1222773" y="313048"/>
                </a:cubicBezTo>
                <a:cubicBezTo>
                  <a:pt x="542273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096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5D270A-502A-C555-4238-B1964C933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109" y="1017814"/>
            <a:ext cx="9968895" cy="56873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2A031E-ECB1-6785-B3CF-51A59BB50A12}"/>
              </a:ext>
            </a:extLst>
          </p:cNvPr>
          <p:cNvSpPr/>
          <p:nvPr/>
        </p:nvSpPr>
        <p:spPr>
          <a:xfrm>
            <a:off x="5418141" y="2565207"/>
            <a:ext cx="2578194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9. Click on “Collect payment”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A7A96A-DDB7-CF2A-55F9-10711F872DEC}"/>
              </a:ext>
            </a:extLst>
          </p:cNvPr>
          <p:cNvSpPr/>
          <p:nvPr/>
        </p:nvSpPr>
        <p:spPr>
          <a:xfrm>
            <a:off x="5538884" y="2945563"/>
            <a:ext cx="1775925" cy="328863"/>
          </a:xfrm>
          <a:custGeom>
            <a:avLst/>
            <a:gdLst>
              <a:gd name="connsiteX0" fmla="*/ 0 w 1775925"/>
              <a:gd name="connsiteY0" fmla="*/ 164432 h 328863"/>
              <a:gd name="connsiteX1" fmla="*/ 887963 w 1775925"/>
              <a:gd name="connsiteY1" fmla="*/ 0 h 328863"/>
              <a:gd name="connsiteX2" fmla="*/ 1775926 w 1775925"/>
              <a:gd name="connsiteY2" fmla="*/ 164432 h 328863"/>
              <a:gd name="connsiteX3" fmla="*/ 887963 w 1775925"/>
              <a:gd name="connsiteY3" fmla="*/ 328864 h 328863"/>
              <a:gd name="connsiteX4" fmla="*/ 0 w 1775925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5925" h="328863" extrusionOk="0">
                <a:moveTo>
                  <a:pt x="0" y="164432"/>
                </a:moveTo>
                <a:cubicBezTo>
                  <a:pt x="-53176" y="40819"/>
                  <a:pt x="324094" y="27571"/>
                  <a:pt x="887963" y="0"/>
                </a:cubicBezTo>
                <a:cubicBezTo>
                  <a:pt x="1390207" y="2492"/>
                  <a:pt x="1753926" y="74319"/>
                  <a:pt x="1775926" y="164432"/>
                </a:cubicBezTo>
                <a:cubicBezTo>
                  <a:pt x="1749745" y="280812"/>
                  <a:pt x="1363076" y="413403"/>
                  <a:pt x="887963" y="328864"/>
                </a:cubicBezTo>
                <a:cubicBezTo>
                  <a:pt x="395201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6EA12B-3286-87F9-9785-08BF9B8E339D}"/>
              </a:ext>
            </a:extLst>
          </p:cNvPr>
          <p:cNvSpPr/>
          <p:nvPr/>
        </p:nvSpPr>
        <p:spPr>
          <a:xfrm>
            <a:off x="5845865" y="3788688"/>
            <a:ext cx="1046930" cy="328863"/>
          </a:xfrm>
          <a:custGeom>
            <a:avLst/>
            <a:gdLst>
              <a:gd name="connsiteX0" fmla="*/ 0 w 1046930"/>
              <a:gd name="connsiteY0" fmla="*/ 164432 h 328863"/>
              <a:gd name="connsiteX1" fmla="*/ 523465 w 1046930"/>
              <a:gd name="connsiteY1" fmla="*/ 0 h 328863"/>
              <a:gd name="connsiteX2" fmla="*/ 1046930 w 1046930"/>
              <a:gd name="connsiteY2" fmla="*/ 164432 h 328863"/>
              <a:gd name="connsiteX3" fmla="*/ 523465 w 1046930"/>
              <a:gd name="connsiteY3" fmla="*/ 328864 h 328863"/>
              <a:gd name="connsiteX4" fmla="*/ 0 w 1046930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6930" h="328863" extrusionOk="0">
                <a:moveTo>
                  <a:pt x="0" y="164432"/>
                </a:moveTo>
                <a:cubicBezTo>
                  <a:pt x="-45478" y="45567"/>
                  <a:pt x="192182" y="15831"/>
                  <a:pt x="523465" y="0"/>
                </a:cubicBezTo>
                <a:cubicBezTo>
                  <a:pt x="824403" y="2492"/>
                  <a:pt x="1024930" y="74319"/>
                  <a:pt x="1046930" y="164432"/>
                </a:cubicBezTo>
                <a:cubicBezTo>
                  <a:pt x="1029364" y="272399"/>
                  <a:pt x="804444" y="373765"/>
                  <a:pt x="523465" y="328864"/>
                </a:cubicBezTo>
                <a:cubicBezTo>
                  <a:pt x="232009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44CAC5-E700-BEFF-1AD7-F8812A33ECCC}"/>
              </a:ext>
            </a:extLst>
          </p:cNvPr>
          <p:cNvSpPr/>
          <p:nvPr/>
        </p:nvSpPr>
        <p:spPr>
          <a:xfrm>
            <a:off x="5178656" y="4116772"/>
            <a:ext cx="2183197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0. Click on “Mark as paid”</a:t>
            </a:r>
          </a:p>
        </p:txBody>
      </p:sp>
    </p:spTree>
    <p:extLst>
      <p:ext uri="{BB962C8B-B14F-4D97-AF65-F5344CB8AC3E}">
        <p14:creationId xmlns:p14="http://schemas.microsoft.com/office/powerpoint/2010/main" val="28054113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BEC818-9837-B870-BAF5-D846D0814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334" y="998374"/>
            <a:ext cx="10812854" cy="54216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8C4326-8F1F-66D2-4750-5752CDEA3565}"/>
              </a:ext>
            </a:extLst>
          </p:cNvPr>
          <p:cNvSpPr/>
          <p:nvPr/>
        </p:nvSpPr>
        <p:spPr>
          <a:xfrm>
            <a:off x="6780410" y="3438526"/>
            <a:ext cx="2708822" cy="43511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1. Finally, click on “Create order”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E4DAD80-474B-999F-EA44-93D36C66D239}"/>
              </a:ext>
            </a:extLst>
          </p:cNvPr>
          <p:cNvSpPr/>
          <p:nvPr/>
        </p:nvSpPr>
        <p:spPr>
          <a:xfrm>
            <a:off x="7399176" y="4004264"/>
            <a:ext cx="1485121" cy="511681"/>
          </a:xfrm>
          <a:custGeom>
            <a:avLst/>
            <a:gdLst>
              <a:gd name="connsiteX0" fmla="*/ 0 w 1485121"/>
              <a:gd name="connsiteY0" fmla="*/ 255841 h 511681"/>
              <a:gd name="connsiteX1" fmla="*/ 742561 w 1485121"/>
              <a:gd name="connsiteY1" fmla="*/ 0 h 511681"/>
              <a:gd name="connsiteX2" fmla="*/ 1485122 w 1485121"/>
              <a:gd name="connsiteY2" fmla="*/ 255841 h 511681"/>
              <a:gd name="connsiteX3" fmla="*/ 742561 w 1485121"/>
              <a:gd name="connsiteY3" fmla="*/ 511682 h 511681"/>
              <a:gd name="connsiteX4" fmla="*/ 0 w 1485121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5121" h="511681" extrusionOk="0">
                <a:moveTo>
                  <a:pt x="0" y="255841"/>
                </a:moveTo>
                <a:cubicBezTo>
                  <a:pt x="-55664" y="80209"/>
                  <a:pt x="299172" y="12492"/>
                  <a:pt x="742561" y="0"/>
                </a:cubicBezTo>
                <a:cubicBezTo>
                  <a:pt x="1166607" y="2935"/>
                  <a:pt x="1457685" y="115416"/>
                  <a:pt x="1485122" y="255841"/>
                </a:cubicBezTo>
                <a:cubicBezTo>
                  <a:pt x="1445275" y="436051"/>
                  <a:pt x="1149710" y="528023"/>
                  <a:pt x="742561" y="511682"/>
                </a:cubicBezTo>
                <a:cubicBezTo>
                  <a:pt x="319578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7712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01C8DA-6859-7A70-6F4D-3FCDFD206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0068" y="1093722"/>
            <a:ext cx="9688976" cy="56113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2525651" y="1658598"/>
            <a:ext cx="3277990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2. New order ID is created, status “Paid”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658977C-43B6-3CD6-01D2-39ED0320543D}"/>
              </a:ext>
            </a:extLst>
          </p:cNvPr>
          <p:cNvSpPr/>
          <p:nvPr/>
        </p:nvSpPr>
        <p:spPr>
          <a:xfrm>
            <a:off x="1757266" y="1029881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758461-AD94-16A5-30CB-7B88D17631F9}"/>
              </a:ext>
            </a:extLst>
          </p:cNvPr>
          <p:cNvSpPr/>
          <p:nvPr/>
        </p:nvSpPr>
        <p:spPr>
          <a:xfrm>
            <a:off x="3262686" y="5833061"/>
            <a:ext cx="1411867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4. Order created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3325586" y="6161924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9E102E8-5BDD-6641-1629-3A553B9E109B}"/>
              </a:ext>
            </a:extLst>
          </p:cNvPr>
          <p:cNvSpPr/>
          <p:nvPr/>
        </p:nvSpPr>
        <p:spPr>
          <a:xfrm>
            <a:off x="7703781" y="2180863"/>
            <a:ext cx="2276668" cy="511681"/>
          </a:xfrm>
          <a:custGeom>
            <a:avLst/>
            <a:gdLst>
              <a:gd name="connsiteX0" fmla="*/ 0 w 2276668"/>
              <a:gd name="connsiteY0" fmla="*/ 255841 h 511681"/>
              <a:gd name="connsiteX1" fmla="*/ 1138334 w 2276668"/>
              <a:gd name="connsiteY1" fmla="*/ 0 h 511681"/>
              <a:gd name="connsiteX2" fmla="*/ 2276668 w 2276668"/>
              <a:gd name="connsiteY2" fmla="*/ 255841 h 511681"/>
              <a:gd name="connsiteX3" fmla="*/ 1138334 w 2276668"/>
              <a:gd name="connsiteY3" fmla="*/ 511682 h 511681"/>
              <a:gd name="connsiteX4" fmla="*/ 0 w 2276668"/>
              <a:gd name="connsiteY4" fmla="*/ 255841 h 51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668" h="511681" extrusionOk="0">
                <a:moveTo>
                  <a:pt x="0" y="255841"/>
                </a:moveTo>
                <a:cubicBezTo>
                  <a:pt x="-31315" y="95228"/>
                  <a:pt x="456694" y="19875"/>
                  <a:pt x="1138334" y="0"/>
                </a:cubicBezTo>
                <a:cubicBezTo>
                  <a:pt x="1780960" y="2935"/>
                  <a:pt x="2249231" y="115416"/>
                  <a:pt x="2276668" y="255841"/>
                </a:cubicBezTo>
                <a:cubicBezTo>
                  <a:pt x="2266136" y="407423"/>
                  <a:pt x="1746164" y="626954"/>
                  <a:pt x="1138334" y="511682"/>
                </a:cubicBezTo>
                <a:cubicBezTo>
                  <a:pt x="496771" y="504636"/>
                  <a:pt x="8535" y="401216"/>
                  <a:pt x="0" y="25584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D8088C-639B-B395-2889-A1122344CB56}"/>
              </a:ext>
            </a:extLst>
          </p:cNvPr>
          <p:cNvSpPr/>
          <p:nvPr/>
        </p:nvSpPr>
        <p:spPr>
          <a:xfrm>
            <a:off x="8863857" y="2544328"/>
            <a:ext cx="1657575" cy="51168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3. Notes will show original order ID</a:t>
            </a:r>
          </a:p>
        </p:txBody>
      </p:sp>
    </p:spTree>
    <p:extLst>
      <p:ext uri="{BB962C8B-B14F-4D97-AF65-F5344CB8AC3E}">
        <p14:creationId xmlns:p14="http://schemas.microsoft.com/office/powerpoint/2010/main" val="4076231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1BB4005-79E3-8790-B5BE-3AAFF3BDED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373" y="1416104"/>
            <a:ext cx="10170367" cy="47136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C.) Verify The Order - 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758461-AD94-16A5-30CB-7B88D17631F9}"/>
              </a:ext>
            </a:extLst>
          </p:cNvPr>
          <p:cNvSpPr/>
          <p:nvPr/>
        </p:nvSpPr>
        <p:spPr>
          <a:xfrm flipH="1">
            <a:off x="9319169" y="5474621"/>
            <a:ext cx="2529930" cy="84045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6. Check the tag – “Exported”</a:t>
            </a:r>
          </a:p>
          <a:p>
            <a:pPr algn="ctr"/>
            <a:r>
              <a:rPr lang="en-IN" sz="1200" dirty="0">
                <a:solidFill>
                  <a:schemeClr val="bg1"/>
                </a:solidFill>
              </a:rPr>
              <a:t>If tag appears, the order is exported to </a:t>
            </a:r>
            <a:r>
              <a:rPr lang="en-IN" sz="1200" dirty="0" err="1">
                <a:solidFill>
                  <a:schemeClr val="bg1"/>
                </a:solidFill>
              </a:rPr>
              <a:t>Knipper</a:t>
            </a:r>
            <a:r>
              <a:rPr lang="en-IN" sz="1200" dirty="0">
                <a:solidFill>
                  <a:schemeClr val="bg1"/>
                </a:solidFill>
              </a:rPr>
              <a:t> successfully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7848600" y="5431762"/>
            <a:ext cx="1227365" cy="328863"/>
          </a:xfrm>
          <a:custGeom>
            <a:avLst/>
            <a:gdLst>
              <a:gd name="connsiteX0" fmla="*/ 0 w 1227365"/>
              <a:gd name="connsiteY0" fmla="*/ 164432 h 328863"/>
              <a:gd name="connsiteX1" fmla="*/ 613683 w 1227365"/>
              <a:gd name="connsiteY1" fmla="*/ 0 h 328863"/>
              <a:gd name="connsiteX2" fmla="*/ 1227366 w 1227365"/>
              <a:gd name="connsiteY2" fmla="*/ 164432 h 328863"/>
              <a:gd name="connsiteX3" fmla="*/ 613683 w 1227365"/>
              <a:gd name="connsiteY3" fmla="*/ 328864 h 328863"/>
              <a:gd name="connsiteX4" fmla="*/ 0 w 1227365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7365" h="328863" extrusionOk="0">
                <a:moveTo>
                  <a:pt x="0" y="164432"/>
                </a:moveTo>
                <a:cubicBezTo>
                  <a:pt x="-31352" y="54280"/>
                  <a:pt x="215345" y="22297"/>
                  <a:pt x="613683" y="0"/>
                </a:cubicBezTo>
                <a:cubicBezTo>
                  <a:pt x="964447" y="2492"/>
                  <a:pt x="1205366" y="74319"/>
                  <a:pt x="1227366" y="164432"/>
                </a:cubicBezTo>
                <a:cubicBezTo>
                  <a:pt x="1213257" y="269023"/>
                  <a:pt x="949964" y="343496"/>
                  <a:pt x="613683" y="328864"/>
                </a:cubicBezTo>
                <a:cubicBezTo>
                  <a:pt x="272401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5477918" y="5655480"/>
            <a:ext cx="2446881" cy="38550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5. Click on “Order #1034” After few minutes.</a:t>
            </a:r>
          </a:p>
        </p:txBody>
      </p:sp>
    </p:spTree>
    <p:extLst>
      <p:ext uri="{BB962C8B-B14F-4D97-AF65-F5344CB8AC3E}">
        <p14:creationId xmlns:p14="http://schemas.microsoft.com/office/powerpoint/2010/main" val="22995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92EE9A-27C4-4808-C7BF-75E702BB7C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" r="-1"/>
          <a:stretch/>
        </p:blipFill>
        <p:spPr>
          <a:xfrm>
            <a:off x="1110853" y="1103043"/>
            <a:ext cx="9727406" cy="53679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C.) Verify The Order - 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A9D890-3AA6-1B43-4583-507A98DE2D0D}"/>
              </a:ext>
            </a:extLst>
          </p:cNvPr>
          <p:cNvSpPr/>
          <p:nvPr/>
        </p:nvSpPr>
        <p:spPr>
          <a:xfrm>
            <a:off x="8353425" y="2771775"/>
            <a:ext cx="1419225" cy="588963"/>
          </a:xfrm>
          <a:custGeom>
            <a:avLst/>
            <a:gdLst>
              <a:gd name="connsiteX0" fmla="*/ 0 w 1419225"/>
              <a:gd name="connsiteY0" fmla="*/ 294482 h 588963"/>
              <a:gd name="connsiteX1" fmla="*/ 709613 w 1419225"/>
              <a:gd name="connsiteY1" fmla="*/ 0 h 588963"/>
              <a:gd name="connsiteX2" fmla="*/ 1419226 w 1419225"/>
              <a:gd name="connsiteY2" fmla="*/ 294482 h 588963"/>
              <a:gd name="connsiteX3" fmla="*/ 709613 w 1419225"/>
              <a:gd name="connsiteY3" fmla="*/ 588964 h 588963"/>
              <a:gd name="connsiteX4" fmla="*/ 0 w 1419225"/>
              <a:gd name="connsiteY4" fmla="*/ 294482 h 588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9225" h="588963" extrusionOk="0">
                <a:moveTo>
                  <a:pt x="0" y="294482"/>
                </a:moveTo>
                <a:cubicBezTo>
                  <a:pt x="-43927" y="104749"/>
                  <a:pt x="238294" y="29804"/>
                  <a:pt x="709613" y="0"/>
                </a:cubicBezTo>
                <a:cubicBezTo>
                  <a:pt x="1127088" y="5382"/>
                  <a:pt x="1402297" y="132382"/>
                  <a:pt x="1419226" y="294482"/>
                </a:cubicBezTo>
                <a:cubicBezTo>
                  <a:pt x="1371325" y="503898"/>
                  <a:pt x="1098927" y="603304"/>
                  <a:pt x="709613" y="588964"/>
                </a:cubicBezTo>
                <a:cubicBezTo>
                  <a:pt x="310050" y="584776"/>
                  <a:pt x="35983" y="474313"/>
                  <a:pt x="0" y="29448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C67D6-AF9B-A474-B300-4C3AC5FEF298}"/>
              </a:ext>
            </a:extLst>
          </p:cNvPr>
          <p:cNvSpPr/>
          <p:nvPr/>
        </p:nvSpPr>
        <p:spPr>
          <a:xfrm>
            <a:off x="7154619" y="2190751"/>
            <a:ext cx="3656255" cy="47875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8. Scroll to “Tags” column and check the locate tag – “Exported”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533134C-C7E4-5BBD-FA89-02368E448318}"/>
              </a:ext>
            </a:extLst>
          </p:cNvPr>
          <p:cNvSpPr/>
          <p:nvPr/>
        </p:nvSpPr>
        <p:spPr>
          <a:xfrm>
            <a:off x="1053703" y="1314450"/>
            <a:ext cx="908447" cy="333375"/>
          </a:xfrm>
          <a:custGeom>
            <a:avLst/>
            <a:gdLst>
              <a:gd name="connsiteX0" fmla="*/ 0 w 908447"/>
              <a:gd name="connsiteY0" fmla="*/ 166688 h 333375"/>
              <a:gd name="connsiteX1" fmla="*/ 454224 w 908447"/>
              <a:gd name="connsiteY1" fmla="*/ 0 h 333375"/>
              <a:gd name="connsiteX2" fmla="*/ 908448 w 908447"/>
              <a:gd name="connsiteY2" fmla="*/ 166688 h 333375"/>
              <a:gd name="connsiteX3" fmla="*/ 454224 w 908447"/>
              <a:gd name="connsiteY3" fmla="*/ 333376 h 333375"/>
              <a:gd name="connsiteX4" fmla="*/ 0 w 908447"/>
              <a:gd name="connsiteY4" fmla="*/ 166688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8447" h="333375" extrusionOk="0">
                <a:moveTo>
                  <a:pt x="0" y="166688"/>
                </a:moveTo>
                <a:cubicBezTo>
                  <a:pt x="-39132" y="50492"/>
                  <a:pt x="163713" y="14881"/>
                  <a:pt x="454224" y="0"/>
                </a:cubicBezTo>
                <a:cubicBezTo>
                  <a:pt x="717588" y="2632"/>
                  <a:pt x="902340" y="74823"/>
                  <a:pt x="908448" y="166688"/>
                </a:cubicBezTo>
                <a:cubicBezTo>
                  <a:pt x="882678" y="283913"/>
                  <a:pt x="702453" y="347921"/>
                  <a:pt x="454224" y="333376"/>
                </a:cubicBezTo>
                <a:cubicBezTo>
                  <a:pt x="191158" y="326698"/>
                  <a:pt x="5584" y="261415"/>
                  <a:pt x="0" y="16668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4226C6-AE4B-82D0-5B63-A0B6773E6C9C}"/>
              </a:ext>
            </a:extLst>
          </p:cNvPr>
          <p:cNvSpPr/>
          <p:nvPr/>
        </p:nvSpPr>
        <p:spPr>
          <a:xfrm>
            <a:off x="2144470" y="1047751"/>
            <a:ext cx="1656006" cy="47875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7. Click on “Orders”</a:t>
            </a:r>
          </a:p>
        </p:txBody>
      </p:sp>
    </p:spTree>
    <p:extLst>
      <p:ext uri="{BB962C8B-B14F-4D97-AF65-F5344CB8AC3E}">
        <p14:creationId xmlns:p14="http://schemas.microsoft.com/office/powerpoint/2010/main" val="9751738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761437"/>
            <a:ext cx="10973286" cy="1734237"/>
          </a:xfrm>
        </p:spPr>
        <p:txBody>
          <a:bodyPr/>
          <a:lstStyle/>
          <a:p>
            <a:r>
              <a:rPr lang="en-IN" sz="4800" dirty="0"/>
              <a:t>2. Changing Shipping Address on Replacement Ord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096812-A920-7BB8-BEB7-658EDF5BE754}"/>
              </a:ext>
            </a:extLst>
          </p:cNvPr>
          <p:cNvSpPr txBox="1"/>
          <p:nvPr/>
        </p:nvSpPr>
        <p:spPr>
          <a:xfrm>
            <a:off x="874590" y="3956477"/>
            <a:ext cx="665015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Questionnaire</a:t>
            </a:r>
          </a:p>
          <a:p>
            <a:pPr lvl="1"/>
            <a:r>
              <a:rPr lang="en-IN" dirty="0"/>
              <a:t>Steps to change Shipping address</a:t>
            </a:r>
          </a:p>
          <a:p>
            <a:pPr lvl="1"/>
            <a:r>
              <a:rPr lang="en-IN" dirty="0"/>
              <a:t>Change Shipping address- 1, 2, 3, 4 and 5</a:t>
            </a:r>
          </a:p>
        </p:txBody>
      </p:sp>
    </p:spTree>
    <p:extLst>
      <p:ext uri="{BB962C8B-B14F-4D97-AF65-F5344CB8AC3E}">
        <p14:creationId xmlns:p14="http://schemas.microsoft.com/office/powerpoint/2010/main" val="1580981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D1AE-CA44-1AFA-0A87-0CC86B9FE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2.a.)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EA4516-2361-759A-4992-4F99017118B0}"/>
              </a:ext>
            </a:extLst>
          </p:cNvPr>
          <p:cNvSpPr txBox="1"/>
          <p:nvPr/>
        </p:nvSpPr>
        <p:spPr>
          <a:xfrm>
            <a:off x="695325" y="1314450"/>
            <a:ext cx="10558463" cy="47434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n to change shipping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Customer moved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Selected incorrect address while placing order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Address undeliverable after multiple attempts and similar situa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n can CSA change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If the address is added to customer's address book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at if address isn't added to customer's address book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Guide customer to add address first and then change in replac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 notes mandatory for address change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 change made on replacement order should be added to notes for future reference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the acceptable changes can be arranged in standard note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. Original order: #1029</a:t>
            </a:r>
          </a:p>
          <a:p>
            <a:pPr lvl="2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ress changed: Yes/No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placed: Once/Twice/Thrice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ason: Damaged/Lost/Expired</a:t>
            </a:r>
          </a:p>
          <a:p>
            <a:pPr lvl="1"/>
            <a:r>
              <a:rPr lang="en-US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Replacing after: 1 week/ 1 month/ 2 days, </a:t>
            </a:r>
            <a:r>
              <a:rPr lang="en-US" sz="14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tc</a:t>
            </a:r>
            <a:endParaRPr lang="en-US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add address?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Login to your account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Go to "Manage Addresses“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Click on "Add Address“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1400" dirty="0">
                <a:solidFill>
                  <a:srgbClr val="000000"/>
                </a:solidFill>
              </a:rPr>
              <a:t>Add the address and click on "Save"</a:t>
            </a:r>
          </a:p>
          <a:p>
            <a:endParaRPr lang="en-IN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61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5C751-703A-C20F-2DA5-3E12B191C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2.b.) </a:t>
            </a:r>
            <a:r>
              <a:rPr lang="en-US" dirty="0">
                <a:solidFill>
                  <a:schemeClr val="bg1"/>
                </a:solidFill>
              </a:rPr>
              <a:t>Steps to change Shipping Address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0A34618-9319-1A10-B87A-4AAD06D6147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4175" y="1809750"/>
          <a:ext cx="11171238" cy="4097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7861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bg1"/>
                </a:solidFill>
              </a:rPr>
              <a:t>Points Covered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F77BA9-1B9B-BC37-9DDA-46EDA0156113}"/>
              </a:ext>
            </a:extLst>
          </p:cNvPr>
          <p:cNvGrpSpPr/>
          <p:nvPr/>
        </p:nvGrpSpPr>
        <p:grpSpPr>
          <a:xfrm>
            <a:off x="720798" y="964327"/>
            <a:ext cx="546028" cy="591317"/>
            <a:chOff x="720797" y="1211977"/>
            <a:chExt cx="709371" cy="6962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C40A2E4-C279-40BF-512B-A08B7D5345F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F92A6D3-F007-4131-D5C5-E0C03F2F2CE7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1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sp>
        <p:nvSpPr>
          <p:cNvPr id="16" name="Subtitle 2">
            <a:extLst>
              <a:ext uri="{FF2B5EF4-FFF2-40B4-BE49-F238E27FC236}">
                <a16:creationId xmlns:a16="http://schemas.microsoft.com/office/drawing/2014/main" id="{19093E18-E16A-B83C-FCB3-6DA49E753AC2}"/>
              </a:ext>
            </a:extLst>
          </p:cNvPr>
          <p:cNvSpPr txBox="1">
            <a:spLocks/>
          </p:cNvSpPr>
          <p:nvPr/>
        </p:nvSpPr>
        <p:spPr>
          <a:xfrm>
            <a:off x="1568550" y="1764707"/>
            <a:ext cx="8082346" cy="447665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Changing Shipping Address on Replacement Order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EE6EA7E-E600-4701-069D-B1420287DB50}"/>
              </a:ext>
            </a:extLst>
          </p:cNvPr>
          <p:cNvGrpSpPr/>
          <p:nvPr/>
        </p:nvGrpSpPr>
        <p:grpSpPr>
          <a:xfrm>
            <a:off x="720798" y="1754174"/>
            <a:ext cx="546028" cy="591317"/>
            <a:chOff x="720797" y="1211977"/>
            <a:chExt cx="709371" cy="69626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B23B25B-BD7F-BDF6-F7F1-E67F5B1265BF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F4C7724-3A86-B9D4-77F3-A62CC2B706E0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2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BB5C982-67D5-5883-6276-D491E0EBB7BA}"/>
              </a:ext>
            </a:extLst>
          </p:cNvPr>
          <p:cNvGrpSpPr/>
          <p:nvPr/>
        </p:nvGrpSpPr>
        <p:grpSpPr>
          <a:xfrm>
            <a:off x="702546" y="2548758"/>
            <a:ext cx="546028" cy="591317"/>
            <a:chOff x="720797" y="1211977"/>
            <a:chExt cx="709371" cy="69626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663D2B1-89DC-4D36-6572-2D22CD0C6F7C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8AA49D6-8DCF-09C8-DF71-EFE6A34B0A04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3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37EF975-2872-AFD7-9882-DEC063E2BCC0}"/>
              </a:ext>
            </a:extLst>
          </p:cNvPr>
          <p:cNvGrpSpPr/>
          <p:nvPr/>
        </p:nvGrpSpPr>
        <p:grpSpPr>
          <a:xfrm>
            <a:off x="720798" y="3336899"/>
            <a:ext cx="546028" cy="591317"/>
            <a:chOff x="720797" y="1211977"/>
            <a:chExt cx="709371" cy="69626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913E588-2FA1-01F4-CBD9-0C6E94ECC966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CEA0B7-8AC2-50E3-0C81-958608349AAB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4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F16B88-6306-A435-3125-BBB1F082E03D}"/>
              </a:ext>
            </a:extLst>
          </p:cNvPr>
          <p:cNvGrpSpPr/>
          <p:nvPr/>
        </p:nvGrpSpPr>
        <p:grpSpPr>
          <a:xfrm>
            <a:off x="692305" y="4127737"/>
            <a:ext cx="546028" cy="591317"/>
            <a:chOff x="720797" y="1211977"/>
            <a:chExt cx="709371" cy="6962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36B4772-704C-7F29-2FA9-7F79A4B5884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5114086-4260-9C6D-6FA1-04475C739A0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5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61170E6-21B4-3F8E-E77A-5548EE79410B}"/>
              </a:ext>
            </a:extLst>
          </p:cNvPr>
          <p:cNvGrpSpPr/>
          <p:nvPr/>
        </p:nvGrpSpPr>
        <p:grpSpPr>
          <a:xfrm>
            <a:off x="702546" y="4915878"/>
            <a:ext cx="546028" cy="591317"/>
            <a:chOff x="720797" y="1211977"/>
            <a:chExt cx="709371" cy="69626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1A599D8-26FC-5E64-B259-99A0EF320505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43A6506-0B78-DB85-881A-17F0E9AF9B3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6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sp>
        <p:nvSpPr>
          <p:cNvPr id="44" name="Subtitle 2">
            <a:extLst>
              <a:ext uri="{FF2B5EF4-FFF2-40B4-BE49-F238E27FC236}">
                <a16:creationId xmlns:a16="http://schemas.microsoft.com/office/drawing/2014/main" id="{D365154E-0A5E-B06E-F11A-AE7AAE1C3B0A}"/>
              </a:ext>
            </a:extLst>
          </p:cNvPr>
          <p:cNvSpPr txBox="1">
            <a:spLocks/>
          </p:cNvSpPr>
          <p:nvPr/>
        </p:nvSpPr>
        <p:spPr>
          <a:xfrm>
            <a:off x="1568548" y="4174318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Order Cancellation Process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C6AB38B-A092-D440-F7F5-42CF893F0BA7}"/>
              </a:ext>
            </a:extLst>
          </p:cNvPr>
          <p:cNvSpPr txBox="1">
            <a:spLocks/>
          </p:cNvSpPr>
          <p:nvPr/>
        </p:nvSpPr>
        <p:spPr>
          <a:xfrm>
            <a:off x="1568551" y="3343670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DOs and DON’Ts For Replacement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42D8E35B-A4F0-4588-4E24-E93F911445CE}"/>
              </a:ext>
            </a:extLst>
          </p:cNvPr>
          <p:cNvSpPr txBox="1">
            <a:spLocks/>
          </p:cNvSpPr>
          <p:nvPr/>
        </p:nvSpPr>
        <p:spPr>
          <a:xfrm>
            <a:off x="1568549" y="2538408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Filtering Replaced Orders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B83CDC56-9EC2-AB1A-C00C-6E99836E8BA6}"/>
              </a:ext>
            </a:extLst>
          </p:cNvPr>
          <p:cNvSpPr txBox="1">
            <a:spLocks/>
          </p:cNvSpPr>
          <p:nvPr/>
        </p:nvSpPr>
        <p:spPr>
          <a:xfrm>
            <a:off x="1568547" y="5010697"/>
            <a:ext cx="6861097" cy="455553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Order Refund Process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7E41311B-3497-2CC1-B2BE-3D7D263880F0}"/>
              </a:ext>
            </a:extLst>
          </p:cNvPr>
          <p:cNvSpPr txBox="1">
            <a:spLocks/>
          </p:cNvSpPr>
          <p:nvPr/>
        </p:nvSpPr>
        <p:spPr>
          <a:xfrm>
            <a:off x="1568551" y="1012118"/>
            <a:ext cx="6861097" cy="447665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 sz="2400" b="1" dirty="0">
                <a:solidFill>
                  <a:schemeClr val="tx1"/>
                </a:solidFill>
                <a:latin typeface="+mj-lt"/>
              </a:rPr>
              <a:t>Creating Replacement Ord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8D4CA54-EEF0-A443-C61A-84DE6B6F4342}"/>
              </a:ext>
            </a:extLst>
          </p:cNvPr>
          <p:cNvGrpSpPr/>
          <p:nvPr/>
        </p:nvGrpSpPr>
        <p:grpSpPr>
          <a:xfrm>
            <a:off x="702546" y="5668353"/>
            <a:ext cx="546028" cy="591317"/>
            <a:chOff x="720797" y="1211977"/>
            <a:chExt cx="709371" cy="69626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B8394E8-7D5A-AE6F-DD06-3BF11422E901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3ECAB6F-F93D-62B7-163E-61419DAEEE6B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7</a:t>
              </a:r>
              <a:endParaRPr lang="en-US" sz="24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endParaRPr>
            </a:p>
          </p:txBody>
        </p:sp>
      </p:grpSp>
      <p:sp>
        <p:nvSpPr>
          <p:cNvPr id="6" name="Subtitle 2">
            <a:extLst>
              <a:ext uri="{FF2B5EF4-FFF2-40B4-BE49-F238E27FC236}">
                <a16:creationId xmlns:a16="http://schemas.microsoft.com/office/drawing/2014/main" id="{486B2742-1C31-0438-52D2-9B9A25328875}"/>
              </a:ext>
            </a:extLst>
          </p:cNvPr>
          <p:cNvSpPr txBox="1">
            <a:spLocks/>
          </p:cNvSpPr>
          <p:nvPr/>
        </p:nvSpPr>
        <p:spPr>
          <a:xfrm>
            <a:off x="1568547" y="5763172"/>
            <a:ext cx="8787352" cy="447665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r>
              <a:rPr lang="en-IN" dirty="0"/>
              <a:t>Replacement for Subscription orders with 100% Discount</a:t>
            </a:r>
          </a:p>
        </p:txBody>
      </p:sp>
    </p:spTree>
    <p:extLst>
      <p:ext uri="{BB962C8B-B14F-4D97-AF65-F5344CB8AC3E}">
        <p14:creationId xmlns:p14="http://schemas.microsoft.com/office/powerpoint/2010/main" val="182048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0635642-B4F5-F1BD-0F7E-BAF0FBFBDA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134" y="1033827"/>
            <a:ext cx="9550845" cy="51872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9391650" y="1819274"/>
            <a:ext cx="627284" cy="154113"/>
          </a:xfrm>
          <a:custGeom>
            <a:avLst/>
            <a:gdLst>
              <a:gd name="connsiteX0" fmla="*/ 0 w 627284"/>
              <a:gd name="connsiteY0" fmla="*/ 77057 h 154113"/>
              <a:gd name="connsiteX1" fmla="*/ 313642 w 627284"/>
              <a:gd name="connsiteY1" fmla="*/ 0 h 154113"/>
              <a:gd name="connsiteX2" fmla="*/ 627284 w 627284"/>
              <a:gd name="connsiteY2" fmla="*/ 77057 h 154113"/>
              <a:gd name="connsiteX3" fmla="*/ 313642 w 627284"/>
              <a:gd name="connsiteY3" fmla="*/ 154114 h 154113"/>
              <a:gd name="connsiteX4" fmla="*/ 0 w 627284"/>
              <a:gd name="connsiteY4" fmla="*/ 77057 h 154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284" h="154113" extrusionOk="0">
                <a:moveTo>
                  <a:pt x="0" y="77057"/>
                </a:moveTo>
                <a:cubicBezTo>
                  <a:pt x="-22361" y="20707"/>
                  <a:pt x="119360" y="7905"/>
                  <a:pt x="313642" y="0"/>
                </a:cubicBezTo>
                <a:cubicBezTo>
                  <a:pt x="494434" y="1594"/>
                  <a:pt x="616740" y="34835"/>
                  <a:pt x="627284" y="77057"/>
                </a:cubicBezTo>
                <a:cubicBezTo>
                  <a:pt x="618203" y="128482"/>
                  <a:pt x="481470" y="183920"/>
                  <a:pt x="313642" y="154114"/>
                </a:cubicBezTo>
                <a:cubicBezTo>
                  <a:pt x="138625" y="153131"/>
                  <a:pt x="3154" y="121121"/>
                  <a:pt x="0" y="7705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10018740" y="1400026"/>
            <a:ext cx="1919629" cy="5733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1 Click on “…” for options as shown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674964-3244-958C-CB10-38B0CA0F7D00}"/>
              </a:ext>
            </a:extLst>
          </p:cNvPr>
          <p:cNvSpPr/>
          <p:nvPr/>
        </p:nvSpPr>
        <p:spPr>
          <a:xfrm>
            <a:off x="10355899" y="2765195"/>
            <a:ext cx="1437258" cy="49341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8.2 Click on “Edit shipping address”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40C614-9164-DBC9-F590-A7173685BC69}"/>
              </a:ext>
            </a:extLst>
          </p:cNvPr>
          <p:cNvSpPr/>
          <p:nvPr/>
        </p:nvSpPr>
        <p:spPr>
          <a:xfrm>
            <a:off x="8807588" y="2515586"/>
            <a:ext cx="1637282" cy="313047"/>
          </a:xfrm>
          <a:custGeom>
            <a:avLst/>
            <a:gdLst>
              <a:gd name="connsiteX0" fmla="*/ 0 w 1637282"/>
              <a:gd name="connsiteY0" fmla="*/ 156524 h 313047"/>
              <a:gd name="connsiteX1" fmla="*/ 818641 w 1637282"/>
              <a:gd name="connsiteY1" fmla="*/ 0 h 313047"/>
              <a:gd name="connsiteX2" fmla="*/ 1637282 w 1637282"/>
              <a:gd name="connsiteY2" fmla="*/ 156524 h 313047"/>
              <a:gd name="connsiteX3" fmla="*/ 818641 w 1637282"/>
              <a:gd name="connsiteY3" fmla="*/ 313048 h 313047"/>
              <a:gd name="connsiteX4" fmla="*/ 0 w 1637282"/>
              <a:gd name="connsiteY4" fmla="*/ 156524 h 313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282" h="313047" extrusionOk="0">
                <a:moveTo>
                  <a:pt x="0" y="156524"/>
                </a:moveTo>
                <a:cubicBezTo>
                  <a:pt x="-10775" y="63432"/>
                  <a:pt x="347144" y="7271"/>
                  <a:pt x="818641" y="0"/>
                </a:cubicBezTo>
                <a:cubicBezTo>
                  <a:pt x="1289099" y="3860"/>
                  <a:pt x="1617418" y="70710"/>
                  <a:pt x="1637282" y="156524"/>
                </a:cubicBezTo>
                <a:cubicBezTo>
                  <a:pt x="1595029" y="284232"/>
                  <a:pt x="1261875" y="362181"/>
                  <a:pt x="818641" y="313048"/>
                </a:cubicBezTo>
                <a:cubicBezTo>
                  <a:pt x="361337" y="310213"/>
                  <a:pt x="14422" y="249861"/>
                  <a:pt x="0" y="15652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58F6FD2-7D1F-BF7E-74E6-315401640C00}"/>
              </a:ext>
            </a:extLst>
          </p:cNvPr>
          <p:cNvSpPr/>
          <p:nvPr/>
        </p:nvSpPr>
        <p:spPr>
          <a:xfrm>
            <a:off x="6986294" y="3892842"/>
            <a:ext cx="1821294" cy="1690303"/>
          </a:xfrm>
          <a:custGeom>
            <a:avLst/>
            <a:gdLst>
              <a:gd name="connsiteX0" fmla="*/ 0 w 1821294"/>
              <a:gd name="connsiteY0" fmla="*/ 845152 h 1690303"/>
              <a:gd name="connsiteX1" fmla="*/ 910647 w 1821294"/>
              <a:gd name="connsiteY1" fmla="*/ 0 h 1690303"/>
              <a:gd name="connsiteX2" fmla="*/ 1821294 w 1821294"/>
              <a:gd name="connsiteY2" fmla="*/ 845152 h 1690303"/>
              <a:gd name="connsiteX3" fmla="*/ 910647 w 1821294"/>
              <a:gd name="connsiteY3" fmla="*/ 1690304 h 1690303"/>
              <a:gd name="connsiteX4" fmla="*/ 0 w 1821294"/>
              <a:gd name="connsiteY4" fmla="*/ 845152 h 1690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1294" h="1690303" extrusionOk="0">
                <a:moveTo>
                  <a:pt x="0" y="845152"/>
                </a:moveTo>
                <a:cubicBezTo>
                  <a:pt x="-58128" y="342532"/>
                  <a:pt x="391920" y="5927"/>
                  <a:pt x="910647" y="0"/>
                </a:cubicBezTo>
                <a:cubicBezTo>
                  <a:pt x="1442614" y="6112"/>
                  <a:pt x="1724695" y="381459"/>
                  <a:pt x="1821294" y="845152"/>
                </a:cubicBezTo>
                <a:cubicBezTo>
                  <a:pt x="1732452" y="1398676"/>
                  <a:pt x="1404675" y="1739543"/>
                  <a:pt x="910647" y="1690304"/>
                </a:cubicBezTo>
                <a:cubicBezTo>
                  <a:pt x="309804" y="1636737"/>
                  <a:pt x="83080" y="1351613"/>
                  <a:pt x="0" y="845152"/>
                </a:cubicBezTo>
                <a:close/>
              </a:path>
            </a:pathLst>
          </a:custGeom>
          <a:noFill/>
          <a:ln w="38100" cmpd="thinThick">
            <a:solidFill>
              <a:srgbClr val="0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FA8A1A-5DFA-033C-66A6-02B8BC6C3031}"/>
              </a:ext>
            </a:extLst>
          </p:cNvPr>
          <p:cNvSpPr/>
          <p:nvPr/>
        </p:nvSpPr>
        <p:spPr>
          <a:xfrm>
            <a:off x="8644902" y="4712363"/>
            <a:ext cx="1437258" cy="493414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Original Shipping address</a:t>
            </a:r>
          </a:p>
        </p:txBody>
      </p:sp>
    </p:spTree>
    <p:extLst>
      <p:ext uri="{BB962C8B-B14F-4D97-AF65-F5344CB8AC3E}">
        <p14:creationId xmlns:p14="http://schemas.microsoft.com/office/powerpoint/2010/main" val="370218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E484B29-D9A5-4F6F-3002-452F74698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565" y="1070312"/>
            <a:ext cx="5245983" cy="5533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2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699290" y="1818548"/>
            <a:ext cx="1322609" cy="392237"/>
          </a:xfrm>
          <a:custGeom>
            <a:avLst/>
            <a:gdLst>
              <a:gd name="connsiteX0" fmla="*/ 0 w 1322609"/>
              <a:gd name="connsiteY0" fmla="*/ 196119 h 392237"/>
              <a:gd name="connsiteX1" fmla="*/ 661305 w 1322609"/>
              <a:gd name="connsiteY1" fmla="*/ 0 h 392237"/>
              <a:gd name="connsiteX2" fmla="*/ 1322610 w 1322609"/>
              <a:gd name="connsiteY2" fmla="*/ 196119 h 392237"/>
              <a:gd name="connsiteX3" fmla="*/ 661305 w 1322609"/>
              <a:gd name="connsiteY3" fmla="*/ 392238 h 392237"/>
              <a:gd name="connsiteX4" fmla="*/ 0 w 1322609"/>
              <a:gd name="connsiteY4" fmla="*/ 196119 h 392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2609" h="392237" extrusionOk="0">
                <a:moveTo>
                  <a:pt x="0" y="196119"/>
                </a:moveTo>
                <a:cubicBezTo>
                  <a:pt x="-6428" y="83840"/>
                  <a:pt x="277631" y="6923"/>
                  <a:pt x="661305" y="0"/>
                </a:cubicBezTo>
                <a:cubicBezTo>
                  <a:pt x="1033816" y="1533"/>
                  <a:pt x="1300118" y="88520"/>
                  <a:pt x="1322610" y="196119"/>
                </a:cubicBezTo>
                <a:cubicBezTo>
                  <a:pt x="1284540" y="341610"/>
                  <a:pt x="1019375" y="431806"/>
                  <a:pt x="661305" y="392238"/>
                </a:cubicBezTo>
                <a:cubicBezTo>
                  <a:pt x="276409" y="381478"/>
                  <a:pt x="22674" y="315267"/>
                  <a:pt x="0" y="196119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4941260" y="1727985"/>
            <a:ext cx="1919629" cy="5733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3 The pop-up appears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Select addres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43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19999C-EC65-2E6A-F37E-D7D00D573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540" y="919760"/>
            <a:ext cx="5160032" cy="57255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394540" y="4081499"/>
            <a:ext cx="1627359" cy="677260"/>
          </a:xfrm>
          <a:custGeom>
            <a:avLst/>
            <a:gdLst>
              <a:gd name="connsiteX0" fmla="*/ 0 w 1627359"/>
              <a:gd name="connsiteY0" fmla="*/ 338630 h 677260"/>
              <a:gd name="connsiteX1" fmla="*/ 813680 w 1627359"/>
              <a:gd name="connsiteY1" fmla="*/ 0 h 677260"/>
              <a:gd name="connsiteX2" fmla="*/ 1627360 w 1627359"/>
              <a:gd name="connsiteY2" fmla="*/ 338630 h 677260"/>
              <a:gd name="connsiteX3" fmla="*/ 813680 w 1627359"/>
              <a:gd name="connsiteY3" fmla="*/ 677260 h 677260"/>
              <a:gd name="connsiteX4" fmla="*/ 0 w 1627359"/>
              <a:gd name="connsiteY4" fmla="*/ 338630 h 67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7359" h="677260" extrusionOk="0">
                <a:moveTo>
                  <a:pt x="0" y="338630"/>
                </a:moveTo>
                <a:cubicBezTo>
                  <a:pt x="-42751" y="125240"/>
                  <a:pt x="344754" y="7335"/>
                  <a:pt x="813680" y="0"/>
                </a:cubicBezTo>
                <a:cubicBezTo>
                  <a:pt x="1276890" y="2911"/>
                  <a:pt x="1600106" y="152477"/>
                  <a:pt x="1627360" y="338630"/>
                </a:cubicBezTo>
                <a:cubicBezTo>
                  <a:pt x="1581355" y="570576"/>
                  <a:pt x="1248982" y="755090"/>
                  <a:pt x="813680" y="677260"/>
                </a:cubicBezTo>
                <a:cubicBezTo>
                  <a:pt x="334520" y="660968"/>
                  <a:pt x="15261" y="532942"/>
                  <a:pt x="0" y="33863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5021899" y="4164186"/>
            <a:ext cx="2278690" cy="6772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4 List of addresses appears.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Click on address customer wants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19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439C928-D2B7-6713-39D4-31F7915E2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598" y="909733"/>
            <a:ext cx="5179916" cy="57641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4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625179" y="6114914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7625179" y="5505450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8.5 Click on “Done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33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D8B1F5-05D3-7D16-9D1F-07E2553F9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907" y="965340"/>
            <a:ext cx="9429299" cy="56513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2.c.) </a:t>
            </a:r>
            <a:r>
              <a:rPr lang="en-US" sz="3200" b="1" dirty="0">
                <a:solidFill>
                  <a:schemeClr val="bg1"/>
                </a:solidFill>
              </a:rPr>
              <a:t>Change Shipping Address - 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7071190" y="4097506"/>
            <a:ext cx="2625260" cy="1487880"/>
          </a:xfrm>
          <a:custGeom>
            <a:avLst/>
            <a:gdLst>
              <a:gd name="connsiteX0" fmla="*/ 0 w 2625260"/>
              <a:gd name="connsiteY0" fmla="*/ 743940 h 1487880"/>
              <a:gd name="connsiteX1" fmla="*/ 1312630 w 2625260"/>
              <a:gd name="connsiteY1" fmla="*/ 0 h 1487880"/>
              <a:gd name="connsiteX2" fmla="*/ 2625260 w 2625260"/>
              <a:gd name="connsiteY2" fmla="*/ 743940 h 1487880"/>
              <a:gd name="connsiteX3" fmla="*/ 1312630 w 2625260"/>
              <a:gd name="connsiteY3" fmla="*/ 1487880 h 1487880"/>
              <a:gd name="connsiteX4" fmla="*/ 0 w 2625260"/>
              <a:gd name="connsiteY4" fmla="*/ 743940 h 14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5260" h="1487880" extrusionOk="0">
                <a:moveTo>
                  <a:pt x="0" y="743940"/>
                </a:moveTo>
                <a:cubicBezTo>
                  <a:pt x="-130083" y="252835"/>
                  <a:pt x="556693" y="11632"/>
                  <a:pt x="1312630" y="0"/>
                </a:cubicBezTo>
                <a:cubicBezTo>
                  <a:pt x="2129277" y="19305"/>
                  <a:pt x="2553670" y="335349"/>
                  <a:pt x="2625260" y="743940"/>
                </a:cubicBezTo>
                <a:cubicBezTo>
                  <a:pt x="2604110" y="1175461"/>
                  <a:pt x="2027462" y="1543783"/>
                  <a:pt x="1312630" y="1487880"/>
                </a:cubicBezTo>
                <a:cubicBezTo>
                  <a:pt x="554263" y="1469595"/>
                  <a:pt x="69300" y="1187919"/>
                  <a:pt x="0" y="74394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6C4B501-17A2-CB23-7CA2-4DC51D02165D}"/>
              </a:ext>
            </a:extLst>
          </p:cNvPr>
          <p:cNvSpPr/>
          <p:nvPr/>
        </p:nvSpPr>
        <p:spPr>
          <a:xfrm>
            <a:off x="7128340" y="3992731"/>
            <a:ext cx="2625260" cy="1487880"/>
          </a:xfrm>
          <a:custGeom>
            <a:avLst/>
            <a:gdLst>
              <a:gd name="connsiteX0" fmla="*/ 0 w 2625260"/>
              <a:gd name="connsiteY0" fmla="*/ 743940 h 1487880"/>
              <a:gd name="connsiteX1" fmla="*/ 1312630 w 2625260"/>
              <a:gd name="connsiteY1" fmla="*/ 0 h 1487880"/>
              <a:gd name="connsiteX2" fmla="*/ 2625260 w 2625260"/>
              <a:gd name="connsiteY2" fmla="*/ 743940 h 1487880"/>
              <a:gd name="connsiteX3" fmla="*/ 1312630 w 2625260"/>
              <a:gd name="connsiteY3" fmla="*/ 1487880 h 1487880"/>
              <a:gd name="connsiteX4" fmla="*/ 0 w 2625260"/>
              <a:gd name="connsiteY4" fmla="*/ 743940 h 14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5260" h="1487880" extrusionOk="0">
                <a:moveTo>
                  <a:pt x="0" y="743940"/>
                </a:moveTo>
                <a:cubicBezTo>
                  <a:pt x="-130083" y="252835"/>
                  <a:pt x="556693" y="11632"/>
                  <a:pt x="1312630" y="0"/>
                </a:cubicBezTo>
                <a:cubicBezTo>
                  <a:pt x="2129277" y="19305"/>
                  <a:pt x="2553670" y="335349"/>
                  <a:pt x="2625260" y="743940"/>
                </a:cubicBezTo>
                <a:cubicBezTo>
                  <a:pt x="2604110" y="1175461"/>
                  <a:pt x="2027462" y="1543783"/>
                  <a:pt x="1312630" y="1487880"/>
                </a:cubicBezTo>
                <a:cubicBezTo>
                  <a:pt x="554263" y="1469595"/>
                  <a:pt x="69300" y="1187919"/>
                  <a:pt x="0" y="743940"/>
                </a:cubicBezTo>
                <a:close/>
              </a:path>
            </a:pathLst>
          </a:custGeom>
          <a:noFill/>
          <a:ln w="38100" cmpd="thinThick">
            <a:solidFill>
              <a:srgbClr val="0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8906894" y="5109211"/>
            <a:ext cx="2278690" cy="6772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ontinue from step 19 from Replacement order 3.0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A1ABA8-5A08-D2A0-E54D-8CCFB0C014C5}"/>
              </a:ext>
            </a:extLst>
          </p:cNvPr>
          <p:cNvSpPr/>
          <p:nvPr/>
        </p:nvSpPr>
        <p:spPr>
          <a:xfrm>
            <a:off x="9053483" y="3881182"/>
            <a:ext cx="1814542" cy="397800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Updated Shipping address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40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923363"/>
            <a:ext cx="10973286" cy="1229412"/>
          </a:xfrm>
        </p:spPr>
        <p:txBody>
          <a:bodyPr/>
          <a:lstStyle/>
          <a:p>
            <a:r>
              <a:rPr lang="en-IN" sz="6000" dirty="0"/>
              <a:t>3. Filtering Replaced Or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588C5C-AFBE-1356-D63A-2235A00F5300}"/>
              </a:ext>
            </a:extLst>
          </p:cNvPr>
          <p:cNvSpPr txBox="1"/>
          <p:nvPr/>
        </p:nvSpPr>
        <p:spPr>
          <a:xfrm>
            <a:off x="1312069" y="3812888"/>
            <a:ext cx="597693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Steps to Filter Replaced orders</a:t>
            </a:r>
          </a:p>
          <a:p>
            <a:pPr lvl="1"/>
            <a:r>
              <a:rPr lang="en-IN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41957322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9817965"/>
              </p:ext>
            </p:extLst>
          </p:nvPr>
        </p:nvGraphicFramePr>
        <p:xfrm>
          <a:off x="964642" y="1733550"/>
          <a:ext cx="1001982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/>
              <a:t>3</a:t>
            </a:r>
            <a:r>
              <a:rPr lang="en-IN" sz="3600" dirty="0">
                <a:solidFill>
                  <a:schemeClr val="bg1"/>
                </a:solidFill>
              </a:rPr>
              <a:t>.a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Filter Replaced Orders</a:t>
            </a:r>
          </a:p>
        </p:txBody>
      </p:sp>
    </p:spTree>
    <p:extLst>
      <p:ext uri="{BB962C8B-B14F-4D97-AF65-F5344CB8AC3E}">
        <p14:creationId xmlns:p14="http://schemas.microsoft.com/office/powerpoint/2010/main" val="2226277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3.b.) Over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0D427A-7ADF-6836-F365-9B6833F17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113" y="1003853"/>
            <a:ext cx="11168886" cy="56681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3B010DC-323E-CF2A-A959-6B5CA2D90FCB}"/>
              </a:ext>
            </a:extLst>
          </p:cNvPr>
          <p:cNvSpPr/>
          <p:nvPr/>
        </p:nvSpPr>
        <p:spPr>
          <a:xfrm>
            <a:off x="1422183" y="1420522"/>
            <a:ext cx="1042721" cy="48779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. Click on “Orders”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2916238-587D-1990-78B8-3CF0E3F68D59}"/>
              </a:ext>
            </a:extLst>
          </p:cNvPr>
          <p:cNvSpPr/>
          <p:nvPr/>
        </p:nvSpPr>
        <p:spPr>
          <a:xfrm>
            <a:off x="856946" y="1658598"/>
            <a:ext cx="683619" cy="328863"/>
          </a:xfrm>
          <a:custGeom>
            <a:avLst/>
            <a:gdLst>
              <a:gd name="connsiteX0" fmla="*/ 0 w 683619"/>
              <a:gd name="connsiteY0" fmla="*/ 164432 h 328863"/>
              <a:gd name="connsiteX1" fmla="*/ 341810 w 683619"/>
              <a:gd name="connsiteY1" fmla="*/ 0 h 328863"/>
              <a:gd name="connsiteX2" fmla="*/ 683620 w 683619"/>
              <a:gd name="connsiteY2" fmla="*/ 164432 h 328863"/>
              <a:gd name="connsiteX3" fmla="*/ 341810 w 683619"/>
              <a:gd name="connsiteY3" fmla="*/ 328864 h 328863"/>
              <a:gd name="connsiteX4" fmla="*/ 0 w 683619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619" h="328863" extrusionOk="0">
                <a:moveTo>
                  <a:pt x="0" y="164432"/>
                </a:moveTo>
                <a:cubicBezTo>
                  <a:pt x="-28922" y="55779"/>
                  <a:pt x="121029" y="12012"/>
                  <a:pt x="341810" y="0"/>
                </a:cubicBezTo>
                <a:cubicBezTo>
                  <a:pt x="542422" y="2492"/>
                  <a:pt x="661620" y="74319"/>
                  <a:pt x="683620" y="164432"/>
                </a:cubicBezTo>
                <a:cubicBezTo>
                  <a:pt x="677768" y="260960"/>
                  <a:pt x="528162" y="342265"/>
                  <a:pt x="341810" y="328864"/>
                </a:cubicBezTo>
                <a:cubicBezTo>
                  <a:pt x="150680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9AACEF-FC2B-836B-C947-9D1F5CBF019B}"/>
              </a:ext>
            </a:extLst>
          </p:cNvPr>
          <p:cNvSpPr/>
          <p:nvPr/>
        </p:nvSpPr>
        <p:spPr>
          <a:xfrm>
            <a:off x="3563801" y="3593431"/>
            <a:ext cx="1411867" cy="455772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3. Replaced order #103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601C62-003E-788E-84E4-0CF8DA7C4681}"/>
              </a:ext>
            </a:extLst>
          </p:cNvPr>
          <p:cNvSpPr/>
          <p:nvPr/>
        </p:nvSpPr>
        <p:spPr>
          <a:xfrm>
            <a:off x="2764972" y="3264568"/>
            <a:ext cx="798829" cy="328863"/>
          </a:xfrm>
          <a:custGeom>
            <a:avLst/>
            <a:gdLst>
              <a:gd name="connsiteX0" fmla="*/ 0 w 798829"/>
              <a:gd name="connsiteY0" fmla="*/ 164432 h 328863"/>
              <a:gd name="connsiteX1" fmla="*/ 399415 w 798829"/>
              <a:gd name="connsiteY1" fmla="*/ 0 h 328863"/>
              <a:gd name="connsiteX2" fmla="*/ 798830 w 798829"/>
              <a:gd name="connsiteY2" fmla="*/ 164432 h 328863"/>
              <a:gd name="connsiteX3" fmla="*/ 399415 w 798829"/>
              <a:gd name="connsiteY3" fmla="*/ 328864 h 328863"/>
              <a:gd name="connsiteX4" fmla="*/ 0 w 798829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829" h="328863" extrusionOk="0">
                <a:moveTo>
                  <a:pt x="0" y="164432"/>
                </a:moveTo>
                <a:cubicBezTo>
                  <a:pt x="-14419" y="64725"/>
                  <a:pt x="145456" y="12524"/>
                  <a:pt x="399415" y="0"/>
                </a:cubicBezTo>
                <a:cubicBezTo>
                  <a:pt x="631842" y="2492"/>
                  <a:pt x="776830" y="74319"/>
                  <a:pt x="798830" y="164432"/>
                </a:cubicBezTo>
                <a:cubicBezTo>
                  <a:pt x="775194" y="278327"/>
                  <a:pt x="617757" y="341293"/>
                  <a:pt x="399415" y="328864"/>
                </a:cubicBezTo>
                <a:cubicBezTo>
                  <a:pt x="176470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3029CB6-6F28-9071-911F-945345BF4E2F}"/>
              </a:ext>
            </a:extLst>
          </p:cNvPr>
          <p:cNvSpPr/>
          <p:nvPr/>
        </p:nvSpPr>
        <p:spPr>
          <a:xfrm>
            <a:off x="5177762" y="2637521"/>
            <a:ext cx="984500" cy="354158"/>
          </a:xfrm>
          <a:custGeom>
            <a:avLst/>
            <a:gdLst>
              <a:gd name="connsiteX0" fmla="*/ 0 w 984500"/>
              <a:gd name="connsiteY0" fmla="*/ 177079 h 354158"/>
              <a:gd name="connsiteX1" fmla="*/ 492250 w 984500"/>
              <a:gd name="connsiteY1" fmla="*/ 0 h 354158"/>
              <a:gd name="connsiteX2" fmla="*/ 984500 w 984500"/>
              <a:gd name="connsiteY2" fmla="*/ 177079 h 354158"/>
              <a:gd name="connsiteX3" fmla="*/ 492250 w 984500"/>
              <a:gd name="connsiteY3" fmla="*/ 354158 h 354158"/>
              <a:gd name="connsiteX4" fmla="*/ 0 w 984500"/>
              <a:gd name="connsiteY4" fmla="*/ 177079 h 354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500" h="354158" extrusionOk="0">
                <a:moveTo>
                  <a:pt x="0" y="177079"/>
                </a:moveTo>
                <a:cubicBezTo>
                  <a:pt x="-8014" y="74337"/>
                  <a:pt x="209350" y="4143"/>
                  <a:pt x="492250" y="0"/>
                </a:cubicBezTo>
                <a:cubicBezTo>
                  <a:pt x="782070" y="3780"/>
                  <a:pt x="975038" y="79582"/>
                  <a:pt x="984500" y="177079"/>
                </a:cubicBezTo>
                <a:cubicBezTo>
                  <a:pt x="976513" y="282677"/>
                  <a:pt x="757052" y="393182"/>
                  <a:pt x="492250" y="354158"/>
                </a:cubicBezTo>
                <a:cubicBezTo>
                  <a:pt x="214374" y="350868"/>
                  <a:pt x="16839" y="282923"/>
                  <a:pt x="0" y="177079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F83CF3-49EB-0DE6-3868-EB1CDFD5C148}"/>
              </a:ext>
            </a:extLst>
          </p:cNvPr>
          <p:cNvSpPr/>
          <p:nvPr/>
        </p:nvSpPr>
        <p:spPr>
          <a:xfrm>
            <a:off x="6096000" y="1823029"/>
            <a:ext cx="2105444" cy="875147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2. Click on “Replacement” to view all the replacement orders</a:t>
            </a:r>
          </a:p>
        </p:txBody>
      </p:sp>
    </p:spTree>
    <p:extLst>
      <p:ext uri="{BB962C8B-B14F-4D97-AF65-F5344CB8AC3E}">
        <p14:creationId xmlns:p14="http://schemas.microsoft.com/office/powerpoint/2010/main" val="11970164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</p:spPr>
        <p:txBody>
          <a:bodyPr/>
          <a:lstStyle/>
          <a:p>
            <a:r>
              <a:rPr lang="en-IN" sz="4800" dirty="0"/>
              <a:t>4. DOs and DON’Ts for Replacement or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161566-6E12-0649-08F0-14D140F9FC84}"/>
              </a:ext>
            </a:extLst>
          </p:cNvPr>
          <p:cNvSpPr txBox="1"/>
          <p:nvPr/>
        </p:nvSpPr>
        <p:spPr>
          <a:xfrm>
            <a:off x="1026319" y="3796642"/>
            <a:ext cx="597693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DOs</a:t>
            </a:r>
          </a:p>
          <a:p>
            <a:pPr lvl="1"/>
            <a:r>
              <a:rPr lang="en-IN" dirty="0"/>
              <a:t>DON’Ts</a:t>
            </a:r>
          </a:p>
          <a:p>
            <a:pPr lvl="1"/>
            <a:r>
              <a:rPr lang="en-IN" dirty="0"/>
              <a:t>Keep In Mind</a:t>
            </a:r>
          </a:p>
        </p:txBody>
      </p:sp>
    </p:spTree>
    <p:extLst>
      <p:ext uri="{BB962C8B-B14F-4D97-AF65-F5344CB8AC3E}">
        <p14:creationId xmlns:p14="http://schemas.microsoft.com/office/powerpoint/2010/main" val="33353901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834C07-FE35-ED1B-BD55-53877D4665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4377" y="1792395"/>
            <a:ext cx="5483835" cy="1769956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for correct order number to be replac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if original order is paid and fulfill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eck for product name and quantity to be replaced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required tags and no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94037FD-F5A4-73D6-CECA-79E6433CE3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71317" y="1792394"/>
            <a:ext cx="5483835" cy="271293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replacement tags to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crease product quantity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product which in not in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discount that is not in original orde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nge shipping or billing address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it any customer information unless authoriz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89E301-77A1-9506-0581-AF2095DD3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04227"/>
            <a:ext cx="9893284" cy="646331"/>
          </a:xfrm>
        </p:spPr>
        <p:txBody>
          <a:bodyPr/>
          <a:lstStyle/>
          <a:p>
            <a:r>
              <a:rPr lang="en-IN" sz="4000" dirty="0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rPr>
              <a:t>4. DOs and DON’Ts For Replacement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55CB2FD3-5870-329E-C8BA-9D1E13C61A76}"/>
              </a:ext>
            </a:extLst>
          </p:cNvPr>
          <p:cNvSpPr txBox="1">
            <a:spLocks/>
          </p:cNvSpPr>
          <p:nvPr/>
        </p:nvSpPr>
        <p:spPr>
          <a:xfrm>
            <a:off x="462615" y="4856904"/>
            <a:ext cx="9893284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defTabSz="8962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94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ＭＳ Ｐゴシック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sz="3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Keep In Mind</a:t>
            </a:r>
            <a:endParaRPr lang="en-IN" sz="2800" dirty="0"/>
          </a:p>
          <a:p>
            <a:pPr marL="342900" indent="-342900" fontAlgn="auto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y one order number can be replaced at a time</a:t>
            </a:r>
          </a:p>
          <a:p>
            <a:pPr marL="342900" indent="-342900" fontAlgn="auto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 option to replace multiple orders at a time, in bulk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910CCC9-B7DE-8639-EF3D-E96EFA8159B5}"/>
              </a:ext>
            </a:extLst>
          </p:cNvPr>
          <p:cNvSpPr txBox="1">
            <a:spLocks/>
          </p:cNvSpPr>
          <p:nvPr/>
        </p:nvSpPr>
        <p:spPr>
          <a:xfrm>
            <a:off x="5868212" y="1118883"/>
            <a:ext cx="4948397" cy="49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896203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kumimoji="0" sz="294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Calibri"/>
                <a:ea typeface="ＭＳ Ｐゴシック"/>
                <a:cs typeface="+mj-cs"/>
              </a:defRPr>
            </a:lvl1pPr>
          </a:lstStyle>
          <a:p>
            <a:r>
              <a:rPr lang="en-IN" dirty="0"/>
              <a:t>DON’Ts-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AD7EEC83-0539-6AF2-E7A1-4E1DE591A4FD}"/>
              </a:ext>
            </a:extLst>
          </p:cNvPr>
          <p:cNvSpPr txBox="1">
            <a:spLocks/>
          </p:cNvSpPr>
          <p:nvPr/>
        </p:nvSpPr>
        <p:spPr>
          <a:xfrm>
            <a:off x="384377" y="1072616"/>
            <a:ext cx="5100797" cy="49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defTabSz="8962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94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ＭＳ Ｐゴシック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IN" dirty="0">
                <a:solidFill>
                  <a:schemeClr val="tx1"/>
                </a:solidFill>
              </a:rPr>
              <a:t>Dos-</a:t>
            </a:r>
          </a:p>
        </p:txBody>
      </p:sp>
    </p:spTree>
    <p:extLst>
      <p:ext uri="{BB962C8B-B14F-4D97-AF65-F5344CB8AC3E}">
        <p14:creationId xmlns:p14="http://schemas.microsoft.com/office/powerpoint/2010/main" val="37853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1923363"/>
            <a:ext cx="10973286" cy="1229412"/>
          </a:xfrm>
        </p:spPr>
        <p:txBody>
          <a:bodyPr/>
          <a:lstStyle/>
          <a:p>
            <a:r>
              <a:rPr lang="en-IN" sz="6000" dirty="0"/>
              <a:t>1. Creating Replac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6F5642-069B-3410-3147-CE0E40739344}"/>
              </a:ext>
            </a:extLst>
          </p:cNvPr>
          <p:cNvSpPr txBox="1"/>
          <p:nvPr/>
        </p:nvSpPr>
        <p:spPr>
          <a:xfrm>
            <a:off x="1194912" y="3672900"/>
            <a:ext cx="747283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66951" lvl="1" indent="-342900">
              <a:buFont typeface="+mj-lt"/>
              <a:buAutoNum type="alphaLcParenR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s to Create Replacement Order</a:t>
            </a:r>
          </a:p>
          <a:p>
            <a:pPr marL="566951" lvl="1" indent="-342900">
              <a:buFont typeface="+mj-lt"/>
              <a:buAutoNum type="alphaLcParenR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view</a:t>
            </a:r>
            <a:endParaRPr lang="en-IN" sz="2800" b="1" kern="1200" dirty="0">
              <a:solidFill>
                <a:schemeClr val="accent6">
                  <a:lumMod val="1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heck existing order</a:t>
            </a: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reate New Replacement- 1, 2, 3, 4, 5, 6, 7, 8</a:t>
            </a:r>
            <a:r>
              <a:rPr lang="en-IN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</a:t>
            </a:r>
            <a:r>
              <a:rPr lang="en-IN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9</a:t>
            </a:r>
          </a:p>
          <a:p>
            <a:pPr marL="776999" lvl="2" indent="-342900">
              <a:buFont typeface="+mj-lt"/>
              <a:buAutoNum type="alphaUcPeriod"/>
            </a:pPr>
            <a:r>
              <a:rPr lang="en-IN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rify Order- 1 and 2</a:t>
            </a:r>
          </a:p>
        </p:txBody>
      </p:sp>
    </p:spTree>
    <p:extLst>
      <p:ext uri="{BB962C8B-B14F-4D97-AF65-F5344CB8AC3E}">
        <p14:creationId xmlns:p14="http://schemas.microsoft.com/office/powerpoint/2010/main" val="2906426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IN" sz="4800" dirty="0"/>
              <a:t>5. Order Cancellation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</p:spPr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A51111-67F4-A824-231C-0C68FE9F755F}"/>
              </a:ext>
            </a:extLst>
          </p:cNvPr>
          <p:cNvSpPr txBox="1"/>
          <p:nvPr/>
        </p:nvSpPr>
        <p:spPr>
          <a:xfrm>
            <a:off x="969169" y="3994577"/>
            <a:ext cx="597693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Order Cancel Rules</a:t>
            </a:r>
          </a:p>
          <a:p>
            <a:pPr lvl="1"/>
            <a:r>
              <a:rPr lang="en-IN" dirty="0"/>
              <a:t>Steps to cancel order</a:t>
            </a:r>
          </a:p>
          <a:p>
            <a:pPr lvl="1"/>
            <a:r>
              <a:rPr lang="en-IN" dirty="0"/>
              <a:t>Overview- 1, 2, 3 and 4</a:t>
            </a:r>
          </a:p>
        </p:txBody>
      </p:sp>
    </p:spTree>
    <p:extLst>
      <p:ext uri="{BB962C8B-B14F-4D97-AF65-F5344CB8AC3E}">
        <p14:creationId xmlns:p14="http://schemas.microsoft.com/office/powerpoint/2010/main" val="42093239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a.) </a:t>
            </a:r>
            <a:r>
              <a:rPr lang="en-US" sz="3200" b="1" dirty="0">
                <a:solidFill>
                  <a:schemeClr val="bg1"/>
                </a:solidFill>
              </a:rPr>
              <a:t>Order Cancellation Rule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048434-8C3C-4256-1B9F-DD28E531ADCF}"/>
              </a:ext>
            </a:extLst>
          </p:cNvPr>
          <p:cNvSpPr txBox="1"/>
          <p:nvPr/>
        </p:nvSpPr>
        <p:spPr>
          <a:xfrm>
            <a:off x="916781" y="1381125"/>
            <a:ext cx="5057775" cy="30099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IN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3AEB1-5CC7-482B-E6F9-2CA6185E72DB}"/>
              </a:ext>
            </a:extLst>
          </p:cNvPr>
          <p:cNvSpPr txBox="1"/>
          <p:nvPr/>
        </p:nvSpPr>
        <p:spPr>
          <a:xfrm>
            <a:off x="741759" y="1381125"/>
            <a:ext cx="10465594" cy="31700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rder should not be fulfilled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der must be paid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ce cancelled, same order can’t be shipped.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order is cancelled mistakenly, customer has to create new order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customer’s card is authorized, the card will reflect amount within 3-5 business days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order is already fulfilled, customer can refuse the order for refund.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customer wants to cancel few items and not all order, we need to edit the order instead of cancelling</a:t>
            </a:r>
          </a:p>
          <a:p>
            <a:pPr marL="347472" indent="-347472"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</a:pPr>
            <a:r>
              <a:rPr lang="en-IN" sz="20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need to educate customer that by cancelling order all the items from the order will be cancelled</a:t>
            </a:r>
          </a:p>
        </p:txBody>
      </p:sp>
    </p:spTree>
    <p:extLst>
      <p:ext uri="{BB962C8B-B14F-4D97-AF65-F5344CB8AC3E}">
        <p14:creationId xmlns:p14="http://schemas.microsoft.com/office/powerpoint/2010/main" val="317748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9327943"/>
              </p:ext>
            </p:extLst>
          </p:nvPr>
        </p:nvGraphicFramePr>
        <p:xfrm>
          <a:off x="516732" y="1733550"/>
          <a:ext cx="1091564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>
                <a:solidFill>
                  <a:schemeClr val="bg1"/>
                </a:solidFill>
              </a:rPr>
              <a:t>5.b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Cancel Order</a:t>
            </a:r>
          </a:p>
        </p:txBody>
      </p:sp>
    </p:spTree>
    <p:extLst>
      <p:ext uri="{BB962C8B-B14F-4D97-AF65-F5344CB8AC3E}">
        <p14:creationId xmlns:p14="http://schemas.microsoft.com/office/powerpoint/2010/main" val="5861573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A2BEF8-A7C9-7BB4-64DB-BD9B0B3533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786" b="4686"/>
          <a:stretch/>
        </p:blipFill>
        <p:spPr>
          <a:xfrm>
            <a:off x="606661" y="1076325"/>
            <a:ext cx="10735791" cy="52253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1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1005305" y="1714364"/>
            <a:ext cx="728246" cy="291534"/>
          </a:xfrm>
          <a:custGeom>
            <a:avLst/>
            <a:gdLst>
              <a:gd name="connsiteX0" fmla="*/ 0 w 728246"/>
              <a:gd name="connsiteY0" fmla="*/ 145767 h 291534"/>
              <a:gd name="connsiteX1" fmla="*/ 364123 w 728246"/>
              <a:gd name="connsiteY1" fmla="*/ 0 h 291534"/>
              <a:gd name="connsiteX2" fmla="*/ 728246 w 728246"/>
              <a:gd name="connsiteY2" fmla="*/ 145767 h 291534"/>
              <a:gd name="connsiteX3" fmla="*/ 364123 w 728246"/>
              <a:gd name="connsiteY3" fmla="*/ 291534 h 291534"/>
              <a:gd name="connsiteX4" fmla="*/ 0 w 728246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46" h="291534" extrusionOk="0">
                <a:moveTo>
                  <a:pt x="0" y="145767"/>
                </a:moveTo>
                <a:cubicBezTo>
                  <a:pt x="-8289" y="60149"/>
                  <a:pt x="124719" y="14376"/>
                  <a:pt x="364123" y="0"/>
                </a:cubicBezTo>
                <a:cubicBezTo>
                  <a:pt x="568769" y="746"/>
                  <a:pt x="713354" y="65736"/>
                  <a:pt x="728246" y="145767"/>
                </a:cubicBezTo>
                <a:cubicBezTo>
                  <a:pt x="698663" y="255161"/>
                  <a:pt x="564099" y="297746"/>
                  <a:pt x="364123" y="291534"/>
                </a:cubicBezTo>
                <a:cubicBezTo>
                  <a:pt x="146055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3167479" y="3947752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Order to be cancelle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3015080" y="3650899"/>
            <a:ext cx="728246" cy="291534"/>
          </a:xfrm>
          <a:custGeom>
            <a:avLst/>
            <a:gdLst>
              <a:gd name="connsiteX0" fmla="*/ 0 w 728246"/>
              <a:gd name="connsiteY0" fmla="*/ 145767 h 291534"/>
              <a:gd name="connsiteX1" fmla="*/ 364123 w 728246"/>
              <a:gd name="connsiteY1" fmla="*/ 0 h 291534"/>
              <a:gd name="connsiteX2" fmla="*/ 728246 w 728246"/>
              <a:gd name="connsiteY2" fmla="*/ 145767 h 291534"/>
              <a:gd name="connsiteX3" fmla="*/ 364123 w 728246"/>
              <a:gd name="connsiteY3" fmla="*/ 291534 h 291534"/>
              <a:gd name="connsiteX4" fmla="*/ 0 w 728246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46" h="291534" extrusionOk="0">
                <a:moveTo>
                  <a:pt x="0" y="145767"/>
                </a:moveTo>
                <a:cubicBezTo>
                  <a:pt x="-8289" y="60149"/>
                  <a:pt x="124719" y="14376"/>
                  <a:pt x="364123" y="0"/>
                </a:cubicBezTo>
                <a:cubicBezTo>
                  <a:pt x="568769" y="746"/>
                  <a:pt x="713354" y="65736"/>
                  <a:pt x="728246" y="145767"/>
                </a:cubicBezTo>
                <a:cubicBezTo>
                  <a:pt x="698663" y="255161"/>
                  <a:pt x="564099" y="297746"/>
                  <a:pt x="364123" y="291534"/>
                </a:cubicBezTo>
                <a:cubicBezTo>
                  <a:pt x="146055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1733551" y="1291659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Order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66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0AF34D-91DF-7818-B4D7-A1F747FE27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29" y="932247"/>
            <a:ext cx="10127455" cy="55717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2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9015829" y="2543039"/>
            <a:ext cx="1263869" cy="291534"/>
          </a:xfrm>
          <a:custGeom>
            <a:avLst/>
            <a:gdLst>
              <a:gd name="connsiteX0" fmla="*/ 0 w 1263869"/>
              <a:gd name="connsiteY0" fmla="*/ 145767 h 291534"/>
              <a:gd name="connsiteX1" fmla="*/ 631935 w 1263869"/>
              <a:gd name="connsiteY1" fmla="*/ 0 h 291534"/>
              <a:gd name="connsiteX2" fmla="*/ 1263870 w 1263869"/>
              <a:gd name="connsiteY2" fmla="*/ 145767 h 291534"/>
              <a:gd name="connsiteX3" fmla="*/ 631935 w 1263869"/>
              <a:gd name="connsiteY3" fmla="*/ 291534 h 291534"/>
              <a:gd name="connsiteX4" fmla="*/ 0 w 1263869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869" h="291534" extrusionOk="0">
                <a:moveTo>
                  <a:pt x="0" y="145767"/>
                </a:moveTo>
                <a:cubicBezTo>
                  <a:pt x="-19362" y="53319"/>
                  <a:pt x="228565" y="20403"/>
                  <a:pt x="631935" y="0"/>
                </a:cubicBezTo>
                <a:cubicBezTo>
                  <a:pt x="984489" y="746"/>
                  <a:pt x="1248978" y="65736"/>
                  <a:pt x="1263870" y="145767"/>
                </a:cubicBezTo>
                <a:cubicBezTo>
                  <a:pt x="1234204" y="255243"/>
                  <a:pt x="974815" y="325407"/>
                  <a:pt x="631935" y="291534"/>
                </a:cubicBezTo>
                <a:cubicBezTo>
                  <a:pt x="265959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9758778" y="2834573"/>
            <a:ext cx="2052221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”Cancel 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8636637" y="1728050"/>
            <a:ext cx="1356895" cy="291534"/>
          </a:xfrm>
          <a:custGeom>
            <a:avLst/>
            <a:gdLst>
              <a:gd name="connsiteX0" fmla="*/ 0 w 1356895"/>
              <a:gd name="connsiteY0" fmla="*/ 145767 h 291534"/>
              <a:gd name="connsiteX1" fmla="*/ 678448 w 1356895"/>
              <a:gd name="connsiteY1" fmla="*/ 0 h 291534"/>
              <a:gd name="connsiteX2" fmla="*/ 1356896 w 1356895"/>
              <a:gd name="connsiteY2" fmla="*/ 145767 h 291534"/>
              <a:gd name="connsiteX3" fmla="*/ 678448 w 1356895"/>
              <a:gd name="connsiteY3" fmla="*/ 291534 h 291534"/>
              <a:gd name="connsiteX4" fmla="*/ 0 w 135689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895" h="291534" extrusionOk="0">
                <a:moveTo>
                  <a:pt x="0" y="145767"/>
                </a:moveTo>
                <a:cubicBezTo>
                  <a:pt x="-65223" y="25031"/>
                  <a:pt x="296431" y="2748"/>
                  <a:pt x="678448" y="0"/>
                </a:cubicBezTo>
                <a:cubicBezTo>
                  <a:pt x="1056690" y="746"/>
                  <a:pt x="1342004" y="65736"/>
                  <a:pt x="1356896" y="145767"/>
                </a:cubicBezTo>
                <a:cubicBezTo>
                  <a:pt x="1347956" y="235002"/>
                  <a:pt x="1041427" y="356299"/>
                  <a:pt x="678448" y="291534"/>
                </a:cubicBezTo>
                <a:cubicBezTo>
                  <a:pt x="286784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8188962" y="1232609"/>
            <a:ext cx="1790699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More actions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5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CC3643B-48CD-F678-4086-F99D40337C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294" y="990600"/>
            <a:ext cx="6576525" cy="54467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3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8589011" y="4241527"/>
            <a:ext cx="640347" cy="440896"/>
          </a:xfrm>
          <a:custGeom>
            <a:avLst/>
            <a:gdLst>
              <a:gd name="connsiteX0" fmla="*/ 0 w 640347"/>
              <a:gd name="connsiteY0" fmla="*/ 220448 h 440896"/>
              <a:gd name="connsiteX1" fmla="*/ 320174 w 640347"/>
              <a:gd name="connsiteY1" fmla="*/ 0 h 440896"/>
              <a:gd name="connsiteX2" fmla="*/ 640348 w 640347"/>
              <a:gd name="connsiteY2" fmla="*/ 220448 h 440896"/>
              <a:gd name="connsiteX3" fmla="*/ 320174 w 640347"/>
              <a:gd name="connsiteY3" fmla="*/ 440896 h 440896"/>
              <a:gd name="connsiteX4" fmla="*/ 0 w 640347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347" h="440896" extrusionOk="0">
                <a:moveTo>
                  <a:pt x="0" y="220448"/>
                </a:moveTo>
                <a:cubicBezTo>
                  <a:pt x="-7828" y="93869"/>
                  <a:pt x="137801" y="2082"/>
                  <a:pt x="320174" y="0"/>
                </a:cubicBezTo>
                <a:cubicBezTo>
                  <a:pt x="509875" y="2710"/>
                  <a:pt x="619163" y="99372"/>
                  <a:pt x="640348" y="220448"/>
                </a:cubicBezTo>
                <a:cubicBezTo>
                  <a:pt x="629302" y="352985"/>
                  <a:pt x="492767" y="464299"/>
                  <a:pt x="320174" y="440896"/>
                </a:cubicBezTo>
                <a:cubicBezTo>
                  <a:pt x="128383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8909184" y="5395751"/>
            <a:ext cx="2052221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”Cancel 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7713180" y="5836647"/>
            <a:ext cx="1581048" cy="440896"/>
          </a:xfrm>
          <a:custGeom>
            <a:avLst/>
            <a:gdLst>
              <a:gd name="connsiteX0" fmla="*/ 0 w 1581048"/>
              <a:gd name="connsiteY0" fmla="*/ 220448 h 440896"/>
              <a:gd name="connsiteX1" fmla="*/ 790524 w 1581048"/>
              <a:gd name="connsiteY1" fmla="*/ 0 h 440896"/>
              <a:gd name="connsiteX2" fmla="*/ 1581048 w 1581048"/>
              <a:gd name="connsiteY2" fmla="*/ 220448 h 440896"/>
              <a:gd name="connsiteX3" fmla="*/ 790524 w 1581048"/>
              <a:gd name="connsiteY3" fmla="*/ 440896 h 440896"/>
              <a:gd name="connsiteX4" fmla="*/ 0 w 1581048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048" h="440896" extrusionOk="0">
                <a:moveTo>
                  <a:pt x="0" y="220448"/>
                </a:moveTo>
                <a:cubicBezTo>
                  <a:pt x="-26593" y="82295"/>
                  <a:pt x="308204" y="17162"/>
                  <a:pt x="790524" y="0"/>
                </a:cubicBezTo>
                <a:cubicBezTo>
                  <a:pt x="1239992" y="2710"/>
                  <a:pt x="1559863" y="99372"/>
                  <a:pt x="1581048" y="220448"/>
                </a:cubicBezTo>
                <a:cubicBezTo>
                  <a:pt x="1518133" y="403638"/>
                  <a:pt x="1219826" y="481199"/>
                  <a:pt x="790524" y="440896"/>
                </a:cubicBezTo>
                <a:cubicBezTo>
                  <a:pt x="338966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8427330" y="3794990"/>
            <a:ext cx="2166937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here to change “Reason for cancelation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26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55A36C-DD98-CB40-B5AE-D0E257AE3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14" y="996698"/>
            <a:ext cx="9893284" cy="52834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5.c.) </a:t>
            </a:r>
            <a:r>
              <a:rPr lang="en-US" sz="3200" b="1" dirty="0">
                <a:solidFill>
                  <a:schemeClr val="bg1"/>
                </a:solidFill>
              </a:rPr>
              <a:t>Overview- 4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089298B-21B0-323B-6927-376095CACB52}"/>
              </a:ext>
            </a:extLst>
          </p:cNvPr>
          <p:cNvSpPr/>
          <p:nvPr/>
        </p:nvSpPr>
        <p:spPr>
          <a:xfrm>
            <a:off x="1436205" y="1074147"/>
            <a:ext cx="1581048" cy="440896"/>
          </a:xfrm>
          <a:custGeom>
            <a:avLst/>
            <a:gdLst>
              <a:gd name="connsiteX0" fmla="*/ 0 w 1581048"/>
              <a:gd name="connsiteY0" fmla="*/ 220448 h 440896"/>
              <a:gd name="connsiteX1" fmla="*/ 790524 w 1581048"/>
              <a:gd name="connsiteY1" fmla="*/ 0 h 440896"/>
              <a:gd name="connsiteX2" fmla="*/ 1581048 w 1581048"/>
              <a:gd name="connsiteY2" fmla="*/ 220448 h 440896"/>
              <a:gd name="connsiteX3" fmla="*/ 790524 w 1581048"/>
              <a:gd name="connsiteY3" fmla="*/ 440896 h 440896"/>
              <a:gd name="connsiteX4" fmla="*/ 0 w 1581048"/>
              <a:gd name="connsiteY4" fmla="*/ 220448 h 44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1048" h="440896" extrusionOk="0">
                <a:moveTo>
                  <a:pt x="0" y="220448"/>
                </a:moveTo>
                <a:cubicBezTo>
                  <a:pt x="-26593" y="82295"/>
                  <a:pt x="308204" y="17162"/>
                  <a:pt x="790524" y="0"/>
                </a:cubicBezTo>
                <a:cubicBezTo>
                  <a:pt x="1239992" y="2710"/>
                  <a:pt x="1559863" y="99372"/>
                  <a:pt x="1581048" y="220448"/>
                </a:cubicBezTo>
                <a:cubicBezTo>
                  <a:pt x="1518133" y="403638"/>
                  <a:pt x="1219826" y="481199"/>
                  <a:pt x="790524" y="440896"/>
                </a:cubicBezTo>
                <a:cubicBezTo>
                  <a:pt x="338966" y="432709"/>
                  <a:pt x="15395" y="349554"/>
                  <a:pt x="0" y="2204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65EA9A-D895-5196-2269-47D312764E5D}"/>
              </a:ext>
            </a:extLst>
          </p:cNvPr>
          <p:cNvSpPr/>
          <p:nvPr/>
        </p:nvSpPr>
        <p:spPr>
          <a:xfrm>
            <a:off x="462615" y="1440735"/>
            <a:ext cx="2166937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tatus changed to “Canceled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44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IN" sz="4800" dirty="0"/>
              <a:t>6.Order Refund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</p:spPr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80C09A-39C5-4F56-4836-6A264B5A9613}"/>
              </a:ext>
            </a:extLst>
          </p:cNvPr>
          <p:cNvSpPr txBox="1"/>
          <p:nvPr/>
        </p:nvSpPr>
        <p:spPr>
          <a:xfrm>
            <a:off x="1026319" y="3956477"/>
            <a:ext cx="59769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Refund Rules</a:t>
            </a:r>
          </a:p>
          <a:p>
            <a:pPr lvl="1"/>
            <a:r>
              <a:rPr lang="en-IN" dirty="0"/>
              <a:t>Steps to Refund order</a:t>
            </a:r>
          </a:p>
          <a:p>
            <a:pPr lvl="1"/>
            <a:r>
              <a:rPr lang="en-IN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3777171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a.) </a:t>
            </a:r>
            <a:r>
              <a:rPr lang="en-US" sz="3200" b="1" dirty="0">
                <a:solidFill>
                  <a:schemeClr val="bg1"/>
                </a:solidFill>
              </a:rPr>
              <a:t>Refund Rule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188FB-996E-5FDC-799A-B46912351AE7}"/>
              </a:ext>
            </a:extLst>
          </p:cNvPr>
          <p:cNvSpPr txBox="1"/>
          <p:nvPr/>
        </p:nvSpPr>
        <p:spPr>
          <a:xfrm>
            <a:off x="419426" y="1218753"/>
            <a:ext cx="11110260" cy="30469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 of refun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emized refun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ual/Partial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lete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n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 issued only on paid orders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can be issued on either fulfilled or unfulfilled orders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amount can’t be more than order total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Reason for Refund” must be entered manually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und can’t issued to different payment method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case of special scenario, we need to ask customer to contact card issuing bank with refund details in case of card expired/lost, etc. </a:t>
            </a:r>
          </a:p>
        </p:txBody>
      </p:sp>
    </p:spTree>
    <p:extLst>
      <p:ext uri="{BB962C8B-B14F-4D97-AF65-F5344CB8AC3E}">
        <p14:creationId xmlns:p14="http://schemas.microsoft.com/office/powerpoint/2010/main" val="47979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FBE722-2367-4ED9-D0B7-A9F7F9D9E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864105"/>
              </p:ext>
            </p:extLst>
          </p:nvPr>
        </p:nvGraphicFramePr>
        <p:xfrm>
          <a:off x="964642" y="1733550"/>
          <a:ext cx="10019829" cy="4497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C58C47-0CC4-EC8C-F335-0EA263169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1" y="2075512"/>
            <a:ext cx="6543676" cy="592424"/>
          </a:xfrm>
        </p:spPr>
        <p:txBody>
          <a:bodyPr/>
          <a:lstStyle/>
          <a:p>
            <a:r>
              <a:rPr lang="en-IN" sz="3600" dirty="0">
                <a:solidFill>
                  <a:schemeClr val="bg1"/>
                </a:solidFill>
              </a:rPr>
              <a:t>6.b.) </a:t>
            </a: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Refund Orders</a:t>
            </a:r>
          </a:p>
        </p:txBody>
      </p:sp>
    </p:spTree>
    <p:extLst>
      <p:ext uri="{BB962C8B-B14F-4D97-AF65-F5344CB8AC3E}">
        <p14:creationId xmlns:p14="http://schemas.microsoft.com/office/powerpoint/2010/main" val="2798447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003" y="168784"/>
            <a:ext cx="10638426" cy="716957"/>
          </a:xfrm>
        </p:spPr>
        <p:txBody>
          <a:bodyPr/>
          <a:lstStyle/>
          <a:p>
            <a:r>
              <a:rPr lang="en-US" sz="3200" b="1" dirty="0"/>
              <a:t>1.a) Steps for Replacement Ord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C5178D-8408-7B81-93CD-079067D176C7}"/>
              </a:ext>
            </a:extLst>
          </p:cNvPr>
          <p:cNvGrpSpPr/>
          <p:nvPr/>
        </p:nvGrpSpPr>
        <p:grpSpPr>
          <a:xfrm>
            <a:off x="831155" y="1254737"/>
            <a:ext cx="1759106" cy="2808000"/>
            <a:chOff x="1399" y="373037"/>
            <a:chExt cx="1759106" cy="280800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3CED54DC-B74C-6102-4F7A-6A8F93E55327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D059CAC-BBF2-AC35-1B65-A02E06592358}"/>
                </a:ext>
              </a:extLst>
            </p:cNvPr>
            <p:cNvSpPr txBox="1"/>
            <p:nvPr/>
          </p:nvSpPr>
          <p:spPr>
            <a:xfrm>
              <a:off x="1399" y="373037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Check the existing Order</a:t>
              </a:r>
              <a:endParaRPr lang="en-IN" kern="1200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ECCBD62-2766-CB38-92B4-C25A580920EA}"/>
              </a:ext>
            </a:extLst>
          </p:cNvPr>
          <p:cNvGrpSpPr/>
          <p:nvPr/>
        </p:nvGrpSpPr>
        <p:grpSpPr>
          <a:xfrm>
            <a:off x="3478445" y="1254737"/>
            <a:ext cx="4591242" cy="2808000"/>
            <a:chOff x="1399" y="373037"/>
            <a:chExt cx="1770122" cy="28080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019FD4A-26E8-F2D0-9D99-18E92466CFDA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B96588D9-49F1-BFA9-90E9-9FF48043D498}"/>
                </a:ext>
              </a:extLst>
            </p:cNvPr>
            <p:cNvSpPr txBox="1"/>
            <p:nvPr/>
          </p:nvSpPr>
          <p:spPr>
            <a:xfrm>
              <a:off x="12415" y="420662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Create new Replacement Order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B163A59-9C81-AE85-A2ED-F5477408642B}"/>
              </a:ext>
            </a:extLst>
          </p:cNvPr>
          <p:cNvGrpSpPr/>
          <p:nvPr/>
        </p:nvGrpSpPr>
        <p:grpSpPr>
          <a:xfrm>
            <a:off x="8950853" y="1254737"/>
            <a:ext cx="1797206" cy="2808000"/>
            <a:chOff x="1399" y="373037"/>
            <a:chExt cx="1797206" cy="28080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79D0C9E7-880E-0B29-1F3A-4B1017060436}"/>
                </a:ext>
              </a:extLst>
            </p:cNvPr>
            <p:cNvSpPr/>
            <p:nvPr/>
          </p:nvSpPr>
          <p:spPr>
            <a:xfrm>
              <a:off x="1399" y="373037"/>
              <a:ext cx="1759106" cy="2808000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7F41F988-45FA-196B-7897-3F6068FCC380}"/>
                </a:ext>
              </a:extLst>
            </p:cNvPr>
            <p:cNvSpPr txBox="1"/>
            <p:nvPr/>
          </p:nvSpPr>
          <p:spPr>
            <a:xfrm>
              <a:off x="39499" y="392087"/>
              <a:ext cx="1759106" cy="7036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45720" numCol="1" spcCol="1270" anchor="t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 dirty="0"/>
                <a:t>Verify the Order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B4D395-7A14-6228-547C-E2A4532F5502}"/>
              </a:ext>
            </a:extLst>
          </p:cNvPr>
          <p:cNvGrpSpPr/>
          <p:nvPr/>
        </p:nvGrpSpPr>
        <p:grpSpPr>
          <a:xfrm>
            <a:off x="1007024" y="2033136"/>
            <a:ext cx="2160241" cy="3861000"/>
            <a:chOff x="361698" y="1076679"/>
            <a:chExt cx="1759106" cy="386100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420C4810-1A05-4F7A-F271-44FA57E11E3C}"/>
                </a:ext>
              </a:extLst>
            </p:cNvPr>
            <p:cNvSpPr/>
            <p:nvPr/>
          </p:nvSpPr>
          <p:spPr>
            <a:xfrm>
              <a:off x="361698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57BC6809-177D-93CA-7408-5076E4E24278}"/>
                </a:ext>
              </a:extLst>
            </p:cNvPr>
            <p:cNvSpPr txBox="1"/>
            <p:nvPr/>
          </p:nvSpPr>
          <p:spPr>
            <a:xfrm>
              <a:off x="413220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Users should be logged in with Edit privileges on the Orders Tab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ick on “Orders” from admin menu of left hand bar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ocate the order to be replaced and confirm the status as “Paid” and “Fulfilled”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+mj-lt"/>
                <a:buAutoNum type="arabicPeriod"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ick on the order number. Ex. #1029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030BF06-AC03-1B4D-1AE7-91D3E8A8E0B5}"/>
              </a:ext>
            </a:extLst>
          </p:cNvPr>
          <p:cNvGrpSpPr/>
          <p:nvPr/>
        </p:nvGrpSpPr>
        <p:grpSpPr>
          <a:xfrm>
            <a:off x="3718531" y="2033136"/>
            <a:ext cx="2366262" cy="3861000"/>
            <a:chOff x="3187502" y="1076679"/>
            <a:chExt cx="1759106" cy="386100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76FB82C-6884-A688-6FC8-36E58049D4BD}"/>
                </a:ext>
              </a:extLst>
            </p:cNvPr>
            <p:cNvSpPr/>
            <p:nvPr/>
          </p:nvSpPr>
          <p:spPr>
            <a:xfrm>
              <a:off x="3187502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2" name="Rectangle: Rounded Corners 6">
              <a:extLst>
                <a:ext uri="{FF2B5EF4-FFF2-40B4-BE49-F238E27FC236}">
                  <a16:creationId xmlns:a16="http://schemas.microsoft.com/office/drawing/2014/main" id="{95CA3780-1A40-08A5-5209-44B002F1C4FA}"/>
                </a:ext>
              </a:extLst>
            </p:cNvPr>
            <p:cNvSpPr txBox="1"/>
            <p:nvPr/>
          </p:nvSpPr>
          <p:spPr>
            <a:xfrm>
              <a:off x="3239024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5. Once the order page opens, check the status “Paid” and “Fulfilled” agai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6. Click on "More Actions" dropdow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7. Click on “Duplicate” from the drop down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. A Draft Order is created. Ex. D34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9. Check product name and quantity to be replaced.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0. Delete product that are not to be replaced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1. After cancelling product that are not to be replaced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2. Total price is only for product that are to be replaced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A8E0BC7-0B9F-98E1-361E-95D6BA1B4C38}"/>
              </a:ext>
            </a:extLst>
          </p:cNvPr>
          <p:cNvGrpSpPr/>
          <p:nvPr/>
        </p:nvGrpSpPr>
        <p:grpSpPr>
          <a:xfrm>
            <a:off x="6242875" y="2033136"/>
            <a:ext cx="2366262" cy="3861000"/>
            <a:chOff x="6013305" y="1076679"/>
            <a:chExt cx="1759106" cy="386100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305987A-1CCC-66A6-1D38-EDC3207AEDF7}"/>
                </a:ext>
              </a:extLst>
            </p:cNvPr>
            <p:cNvSpPr/>
            <p:nvPr/>
          </p:nvSpPr>
          <p:spPr>
            <a:xfrm>
              <a:off x="6013305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0" name="Rectangle: Rounded Corners 8">
              <a:extLst>
                <a:ext uri="{FF2B5EF4-FFF2-40B4-BE49-F238E27FC236}">
                  <a16:creationId xmlns:a16="http://schemas.microsoft.com/office/drawing/2014/main" id="{0BADB03B-656E-30DE-0788-6FA12176D1D9}"/>
                </a:ext>
              </a:extLst>
            </p:cNvPr>
            <p:cNvSpPr txBox="1"/>
            <p:nvPr/>
          </p:nvSpPr>
          <p:spPr>
            <a:xfrm>
              <a:off x="6064827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3. Add note as “#1029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4. Add comment if necessary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5. Add “Replacement” tag here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6. Check Note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7.  Check Comment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8. Check Tag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9. Click on “Collect payment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. Click on “Mark as paid”</a:t>
              </a:r>
              <a:endParaRPr lang="en-IN" sz="1200" kern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1. Finally, click on “Create order”</a:t>
              </a:r>
              <a:endParaRPr lang="en-IN" sz="1200" dirty="0">
                <a:solidFill>
                  <a:schemeClr val="tx1"/>
                </a:solidFill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22. New order ID is created, status “Paid”</a:t>
              </a:r>
              <a:endParaRPr lang="en-IN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3. </a:t>
              </a: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Notes will show original order ID</a:t>
              </a:r>
              <a:endParaRPr lang="en-IN" sz="1200" kern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4.</a:t>
              </a:r>
              <a:r>
                <a:rPr lang="en-IN" sz="1200" kern="1200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Order created</a:t>
              </a:r>
              <a:endParaRPr lang="en-IN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C7D8C2-EF39-23C4-8FD1-7A27FE6927A3}"/>
              </a:ext>
            </a:extLst>
          </p:cNvPr>
          <p:cNvGrpSpPr/>
          <p:nvPr/>
        </p:nvGrpSpPr>
        <p:grpSpPr>
          <a:xfrm>
            <a:off x="9260757" y="2033136"/>
            <a:ext cx="2160241" cy="3861000"/>
            <a:chOff x="8839109" y="1076679"/>
            <a:chExt cx="1759106" cy="386100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B14342F-3B7A-A20A-E702-3E7FF7B51F00}"/>
                </a:ext>
              </a:extLst>
            </p:cNvPr>
            <p:cNvSpPr/>
            <p:nvPr/>
          </p:nvSpPr>
          <p:spPr>
            <a:xfrm>
              <a:off x="8839109" y="1076679"/>
              <a:ext cx="1759106" cy="3861000"/>
            </a:xfrm>
            <a:prstGeom prst="roundRect">
              <a:avLst>
                <a:gd name="adj" fmla="val 1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8" name="Rectangle: Rounded Corners 10">
              <a:extLst>
                <a:ext uri="{FF2B5EF4-FFF2-40B4-BE49-F238E27FC236}">
                  <a16:creationId xmlns:a16="http://schemas.microsoft.com/office/drawing/2014/main" id="{E51DD11E-39CC-7B25-94FB-3D9D0EA23D41}"/>
                </a:ext>
              </a:extLst>
            </p:cNvPr>
            <p:cNvSpPr txBox="1"/>
            <p:nvPr/>
          </p:nvSpPr>
          <p:spPr>
            <a:xfrm>
              <a:off x="8890631" y="1128201"/>
              <a:ext cx="1656062" cy="3757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 make sure this new replacement order has been communicated to the Fulfillment Center (KH), please follow the steps below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5. Go to order that was replaced.</a:t>
              </a: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6. Scroll extreme down to locate “Tags”. </a:t>
              </a:r>
              <a:r>
                <a:rPr lang="en-IN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 the Tags section, if you can see “Exported” then the order is successfully exported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7. Go to orders, scroll Right to Tags column.</a:t>
              </a:r>
            </a:p>
            <a:p>
              <a:pPr marL="114300" lvl="1" indent="-114300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IN" sz="1200" kern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8. I</a:t>
              </a:r>
              <a:r>
                <a:rPr lang="en-IN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 you can see “Exported” then the order is successfully exported.</a:t>
              </a: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endParaRPr lang="en-IN" sz="1200" kern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D8158C-7FCD-AA02-9FE6-D85910558F85}"/>
              </a:ext>
            </a:extLst>
          </p:cNvPr>
          <p:cNvGrpSpPr/>
          <p:nvPr/>
        </p:nvGrpSpPr>
        <p:grpSpPr>
          <a:xfrm>
            <a:off x="2801782" y="1436059"/>
            <a:ext cx="565349" cy="437966"/>
            <a:chOff x="2027180" y="505875"/>
            <a:chExt cx="565349" cy="437966"/>
          </a:xfrm>
        </p:grpSpPr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C546D37F-8249-5EA3-C86F-27EC9876EEEA}"/>
                </a:ext>
              </a:extLst>
            </p:cNvPr>
            <p:cNvSpPr/>
            <p:nvPr/>
          </p:nvSpPr>
          <p:spPr>
            <a:xfrm>
              <a:off x="2027180" y="505875"/>
              <a:ext cx="565349" cy="437966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30" name="Arrow: Right 4">
              <a:extLst>
                <a:ext uri="{FF2B5EF4-FFF2-40B4-BE49-F238E27FC236}">
                  <a16:creationId xmlns:a16="http://schemas.microsoft.com/office/drawing/2014/main" id="{E9A8B623-E8D1-8FB7-20C5-84D06602AEB6}"/>
                </a:ext>
              </a:extLst>
            </p:cNvPr>
            <p:cNvSpPr txBox="1"/>
            <p:nvPr/>
          </p:nvSpPr>
          <p:spPr>
            <a:xfrm>
              <a:off x="2027180" y="593468"/>
              <a:ext cx="433959" cy="262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1900" kern="12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D125928-1632-31B6-EEC8-D41793B8E929}"/>
              </a:ext>
            </a:extLst>
          </p:cNvPr>
          <p:cNvGrpSpPr/>
          <p:nvPr/>
        </p:nvGrpSpPr>
        <p:grpSpPr>
          <a:xfrm>
            <a:off x="8249180" y="1397959"/>
            <a:ext cx="565349" cy="437966"/>
            <a:chOff x="7678787" y="505875"/>
            <a:chExt cx="565349" cy="437966"/>
          </a:xfrm>
        </p:grpSpPr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F74F5EF0-3C7A-5891-06CA-67E14B4F7DC1}"/>
                </a:ext>
              </a:extLst>
            </p:cNvPr>
            <p:cNvSpPr/>
            <p:nvPr/>
          </p:nvSpPr>
          <p:spPr>
            <a:xfrm>
              <a:off x="7678787" y="505875"/>
              <a:ext cx="565349" cy="437966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8" name="Arrow: Right 6">
              <a:extLst>
                <a:ext uri="{FF2B5EF4-FFF2-40B4-BE49-F238E27FC236}">
                  <a16:creationId xmlns:a16="http://schemas.microsoft.com/office/drawing/2014/main" id="{9C89A5F6-108D-B0C5-E904-CE470EC5E2BB}"/>
                </a:ext>
              </a:extLst>
            </p:cNvPr>
            <p:cNvSpPr txBox="1"/>
            <p:nvPr/>
          </p:nvSpPr>
          <p:spPr>
            <a:xfrm>
              <a:off x="7678787" y="593468"/>
              <a:ext cx="433959" cy="2627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19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29196622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F96CEEA-E58D-C3A6-97E9-410A4D6E980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360" r="13333" b="9024"/>
          <a:stretch/>
        </p:blipFill>
        <p:spPr>
          <a:xfrm>
            <a:off x="796607" y="962025"/>
            <a:ext cx="10355899" cy="55529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1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8F8E4F4-3A66-C115-C317-C99E74D4E039}"/>
              </a:ext>
            </a:extLst>
          </p:cNvPr>
          <p:cNvSpPr/>
          <p:nvPr/>
        </p:nvSpPr>
        <p:spPr>
          <a:xfrm>
            <a:off x="3367504" y="3291170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F16F8-43D5-F162-6768-292A641130FD}"/>
              </a:ext>
            </a:extLst>
          </p:cNvPr>
          <p:cNvSpPr/>
          <p:nvPr/>
        </p:nvSpPr>
        <p:spPr>
          <a:xfrm>
            <a:off x="3517376" y="3620804"/>
            <a:ext cx="1578926" cy="44089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Order to be refunde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788578" y="1447800"/>
            <a:ext cx="1297522" cy="32790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1100554" y="1712825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1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FA27500-CCAC-00A4-5901-948D22F69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122" y="998913"/>
            <a:ext cx="8378869" cy="5465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2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6136397" y="1393915"/>
            <a:ext cx="1402297" cy="32790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Refund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6367879" y="1050647"/>
            <a:ext cx="939335" cy="291534"/>
          </a:xfrm>
          <a:custGeom>
            <a:avLst/>
            <a:gdLst>
              <a:gd name="connsiteX0" fmla="*/ 0 w 939335"/>
              <a:gd name="connsiteY0" fmla="*/ 145767 h 291534"/>
              <a:gd name="connsiteX1" fmla="*/ 469668 w 939335"/>
              <a:gd name="connsiteY1" fmla="*/ 0 h 291534"/>
              <a:gd name="connsiteX2" fmla="*/ 939336 w 939335"/>
              <a:gd name="connsiteY2" fmla="*/ 145767 h 291534"/>
              <a:gd name="connsiteX3" fmla="*/ 469668 w 939335"/>
              <a:gd name="connsiteY3" fmla="*/ 291534 h 291534"/>
              <a:gd name="connsiteX4" fmla="*/ 0 w 939335"/>
              <a:gd name="connsiteY4" fmla="*/ 145767 h 29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291534" extrusionOk="0">
                <a:moveTo>
                  <a:pt x="0" y="145767"/>
                </a:moveTo>
                <a:cubicBezTo>
                  <a:pt x="-29258" y="47215"/>
                  <a:pt x="199146" y="4178"/>
                  <a:pt x="469668" y="0"/>
                </a:cubicBezTo>
                <a:cubicBezTo>
                  <a:pt x="732604" y="746"/>
                  <a:pt x="924444" y="65736"/>
                  <a:pt x="939336" y="145767"/>
                </a:cubicBezTo>
                <a:cubicBezTo>
                  <a:pt x="919750" y="245399"/>
                  <a:pt x="719471" y="344522"/>
                  <a:pt x="469668" y="291534"/>
                </a:cubicBezTo>
                <a:cubicBezTo>
                  <a:pt x="193310" y="282251"/>
                  <a:pt x="8177" y="230179"/>
                  <a:pt x="0" y="14576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76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8BF19CE-E310-AB66-3992-AFAC4C24D0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9339" y="964922"/>
            <a:ext cx="6450434" cy="56708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3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4857751" y="2038350"/>
            <a:ext cx="2130011" cy="88045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crease quantity is refund is itemized refund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Select all items for Complete refund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5197062" y="2945579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6987762" y="3740128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2749339" y="5314951"/>
            <a:ext cx="1241636" cy="413028"/>
          </a:xfrm>
          <a:custGeom>
            <a:avLst/>
            <a:gdLst>
              <a:gd name="connsiteX0" fmla="*/ 0 w 1241636"/>
              <a:gd name="connsiteY0" fmla="*/ 206514 h 413028"/>
              <a:gd name="connsiteX1" fmla="*/ 620818 w 1241636"/>
              <a:gd name="connsiteY1" fmla="*/ 0 h 413028"/>
              <a:gd name="connsiteX2" fmla="*/ 1241636 w 1241636"/>
              <a:gd name="connsiteY2" fmla="*/ 206514 h 413028"/>
              <a:gd name="connsiteX3" fmla="*/ 620818 w 1241636"/>
              <a:gd name="connsiteY3" fmla="*/ 413028 h 413028"/>
              <a:gd name="connsiteX4" fmla="*/ 0 w 1241636"/>
              <a:gd name="connsiteY4" fmla="*/ 206514 h 413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413028" extrusionOk="0">
                <a:moveTo>
                  <a:pt x="0" y="206514"/>
                </a:moveTo>
                <a:cubicBezTo>
                  <a:pt x="-29601" y="74201"/>
                  <a:pt x="241210" y="13789"/>
                  <a:pt x="620818" y="0"/>
                </a:cubicBezTo>
                <a:cubicBezTo>
                  <a:pt x="990059" y="5552"/>
                  <a:pt x="1217248" y="93234"/>
                  <a:pt x="1241636" y="206514"/>
                </a:cubicBezTo>
                <a:cubicBezTo>
                  <a:pt x="1208868" y="352569"/>
                  <a:pt x="952909" y="472595"/>
                  <a:pt x="620818" y="413028"/>
                </a:cubicBezTo>
                <a:cubicBezTo>
                  <a:pt x="268083" y="407630"/>
                  <a:pt x="21797" y="330984"/>
                  <a:pt x="0" y="20651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7860475" y="336073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dd amount is refund is manual/partial/tax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893619" y="4979435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ter “Reason for refund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80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AF7846-BF48-3857-FC3F-425C07BDB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4061" y="888181"/>
            <a:ext cx="7740991" cy="55182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5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8114043" y="747147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ummary of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7860475" y="3926551"/>
            <a:ext cx="1098963" cy="442303"/>
          </a:xfrm>
          <a:custGeom>
            <a:avLst/>
            <a:gdLst>
              <a:gd name="connsiteX0" fmla="*/ 0 w 1098963"/>
              <a:gd name="connsiteY0" fmla="*/ 221152 h 442303"/>
              <a:gd name="connsiteX1" fmla="*/ 549482 w 1098963"/>
              <a:gd name="connsiteY1" fmla="*/ 0 h 442303"/>
              <a:gd name="connsiteX2" fmla="*/ 1098964 w 1098963"/>
              <a:gd name="connsiteY2" fmla="*/ 221152 h 442303"/>
              <a:gd name="connsiteX3" fmla="*/ 549482 w 1098963"/>
              <a:gd name="connsiteY3" fmla="*/ 442304 h 442303"/>
              <a:gd name="connsiteX4" fmla="*/ 0 w 1098963"/>
              <a:gd name="connsiteY4" fmla="*/ 221152 h 442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963" h="442303" extrusionOk="0">
                <a:moveTo>
                  <a:pt x="0" y="221152"/>
                </a:moveTo>
                <a:cubicBezTo>
                  <a:pt x="-8841" y="93560"/>
                  <a:pt x="214179" y="11947"/>
                  <a:pt x="549482" y="0"/>
                </a:cubicBezTo>
                <a:cubicBezTo>
                  <a:pt x="875850" y="4820"/>
                  <a:pt x="1078552" y="99662"/>
                  <a:pt x="1098964" y="221152"/>
                </a:cubicBezTo>
                <a:cubicBezTo>
                  <a:pt x="1073746" y="367918"/>
                  <a:pt x="841728" y="504350"/>
                  <a:pt x="549482" y="442304"/>
                </a:cubicBezTo>
                <a:cubicBezTo>
                  <a:pt x="232768" y="435059"/>
                  <a:pt x="19325" y="352525"/>
                  <a:pt x="0" y="22115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7244937" y="1044553"/>
            <a:ext cx="939335" cy="327899"/>
          </a:xfrm>
          <a:custGeom>
            <a:avLst/>
            <a:gdLst>
              <a:gd name="connsiteX0" fmla="*/ 0 w 939335"/>
              <a:gd name="connsiteY0" fmla="*/ 163950 h 327899"/>
              <a:gd name="connsiteX1" fmla="*/ 469668 w 939335"/>
              <a:gd name="connsiteY1" fmla="*/ 0 h 327899"/>
              <a:gd name="connsiteX2" fmla="*/ 939336 w 939335"/>
              <a:gd name="connsiteY2" fmla="*/ 163950 h 327899"/>
              <a:gd name="connsiteX3" fmla="*/ 469668 w 939335"/>
              <a:gd name="connsiteY3" fmla="*/ 327900 h 327899"/>
              <a:gd name="connsiteX4" fmla="*/ 0 w 93933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9335" h="327899" extrusionOk="0">
                <a:moveTo>
                  <a:pt x="0" y="163950"/>
                </a:moveTo>
                <a:cubicBezTo>
                  <a:pt x="-35766" y="51342"/>
                  <a:pt x="192946" y="6505"/>
                  <a:pt x="469668" y="0"/>
                </a:cubicBezTo>
                <a:cubicBezTo>
                  <a:pt x="744432" y="3237"/>
                  <a:pt x="935928" y="73511"/>
                  <a:pt x="939336" y="163950"/>
                </a:cubicBezTo>
                <a:cubicBezTo>
                  <a:pt x="904283" y="288729"/>
                  <a:pt x="725085" y="349860"/>
                  <a:pt x="469668" y="327900"/>
                </a:cubicBezTo>
                <a:cubicBezTo>
                  <a:pt x="205653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2054014" y="5219701"/>
            <a:ext cx="1241636" cy="413028"/>
          </a:xfrm>
          <a:custGeom>
            <a:avLst/>
            <a:gdLst>
              <a:gd name="connsiteX0" fmla="*/ 0 w 1241636"/>
              <a:gd name="connsiteY0" fmla="*/ 206514 h 413028"/>
              <a:gd name="connsiteX1" fmla="*/ 620818 w 1241636"/>
              <a:gd name="connsiteY1" fmla="*/ 0 h 413028"/>
              <a:gd name="connsiteX2" fmla="*/ 1241636 w 1241636"/>
              <a:gd name="connsiteY2" fmla="*/ 206514 h 413028"/>
              <a:gd name="connsiteX3" fmla="*/ 620818 w 1241636"/>
              <a:gd name="connsiteY3" fmla="*/ 413028 h 413028"/>
              <a:gd name="connsiteX4" fmla="*/ 0 w 1241636"/>
              <a:gd name="connsiteY4" fmla="*/ 206514 h 413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413028" extrusionOk="0">
                <a:moveTo>
                  <a:pt x="0" y="206514"/>
                </a:moveTo>
                <a:cubicBezTo>
                  <a:pt x="-29601" y="74201"/>
                  <a:pt x="241210" y="13789"/>
                  <a:pt x="620818" y="0"/>
                </a:cubicBezTo>
                <a:cubicBezTo>
                  <a:pt x="990059" y="5552"/>
                  <a:pt x="1217248" y="93234"/>
                  <a:pt x="1241636" y="206514"/>
                </a:cubicBezTo>
                <a:cubicBezTo>
                  <a:pt x="1208868" y="352569"/>
                  <a:pt x="952909" y="472595"/>
                  <a:pt x="620818" y="413028"/>
                </a:cubicBezTo>
                <a:cubicBezTo>
                  <a:pt x="268083" y="407630"/>
                  <a:pt x="21797" y="330984"/>
                  <a:pt x="0" y="20651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8885567" y="3554087"/>
            <a:ext cx="2020558" cy="53553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fund button is activated.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Click on “Refund $30.99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554110" y="5091658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“Reason for refund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7244937" y="4410076"/>
            <a:ext cx="488293" cy="262156"/>
          </a:xfrm>
          <a:custGeom>
            <a:avLst/>
            <a:gdLst>
              <a:gd name="connsiteX0" fmla="*/ 0 w 488293"/>
              <a:gd name="connsiteY0" fmla="*/ 131078 h 262156"/>
              <a:gd name="connsiteX1" fmla="*/ 244147 w 488293"/>
              <a:gd name="connsiteY1" fmla="*/ 0 h 262156"/>
              <a:gd name="connsiteX2" fmla="*/ 488294 w 488293"/>
              <a:gd name="connsiteY2" fmla="*/ 131078 h 262156"/>
              <a:gd name="connsiteX3" fmla="*/ 244147 w 488293"/>
              <a:gd name="connsiteY3" fmla="*/ 262156 h 262156"/>
              <a:gd name="connsiteX4" fmla="*/ 0 w 488293"/>
              <a:gd name="connsiteY4" fmla="*/ 131078 h 26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293" h="262156" extrusionOk="0">
                <a:moveTo>
                  <a:pt x="0" y="131078"/>
                </a:moveTo>
                <a:cubicBezTo>
                  <a:pt x="-17452" y="47922"/>
                  <a:pt x="102718" y="2473"/>
                  <a:pt x="244147" y="0"/>
                </a:cubicBezTo>
                <a:cubicBezTo>
                  <a:pt x="384097" y="1076"/>
                  <a:pt x="486294" y="58750"/>
                  <a:pt x="488294" y="131078"/>
                </a:cubicBezTo>
                <a:cubicBezTo>
                  <a:pt x="482839" y="208797"/>
                  <a:pt x="376318" y="276905"/>
                  <a:pt x="244147" y="262156"/>
                </a:cubicBezTo>
                <a:cubicBezTo>
                  <a:pt x="106365" y="260546"/>
                  <a:pt x="3309" y="205051"/>
                  <a:pt x="0" y="13107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7344950" y="477739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heck/Uncheck to notify customer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80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57D6AE-F2DD-CD38-9014-688521691D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0437"/>
          <a:stretch/>
        </p:blipFill>
        <p:spPr>
          <a:xfrm>
            <a:off x="1159147" y="1046577"/>
            <a:ext cx="9630819" cy="13769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9517D2A-063F-C383-DCDA-43880D1D26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473"/>
          <a:stretch/>
        </p:blipFill>
        <p:spPr>
          <a:xfrm>
            <a:off x="3198536" y="2897926"/>
            <a:ext cx="5552041" cy="31150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6.c.) </a:t>
            </a:r>
            <a:r>
              <a:rPr lang="en-US" sz="3200" b="1" dirty="0">
                <a:solidFill>
                  <a:schemeClr val="bg1"/>
                </a:solidFill>
              </a:rPr>
              <a:t>Overview- 5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159147" y="1718267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Order status after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7733230" y="5312810"/>
            <a:ext cx="1186071" cy="621265"/>
          </a:xfrm>
          <a:custGeom>
            <a:avLst/>
            <a:gdLst>
              <a:gd name="connsiteX0" fmla="*/ 0 w 1186071"/>
              <a:gd name="connsiteY0" fmla="*/ 310633 h 621265"/>
              <a:gd name="connsiteX1" fmla="*/ 593036 w 1186071"/>
              <a:gd name="connsiteY1" fmla="*/ 0 h 621265"/>
              <a:gd name="connsiteX2" fmla="*/ 1186072 w 1186071"/>
              <a:gd name="connsiteY2" fmla="*/ 310633 h 621265"/>
              <a:gd name="connsiteX3" fmla="*/ 593036 w 1186071"/>
              <a:gd name="connsiteY3" fmla="*/ 621266 h 621265"/>
              <a:gd name="connsiteX4" fmla="*/ 0 w 1186071"/>
              <a:gd name="connsiteY4" fmla="*/ 310633 h 621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6071" h="621265" extrusionOk="0">
                <a:moveTo>
                  <a:pt x="0" y="310633"/>
                </a:moveTo>
                <a:cubicBezTo>
                  <a:pt x="-40863" y="113870"/>
                  <a:pt x="217194" y="18134"/>
                  <a:pt x="593036" y="0"/>
                </a:cubicBezTo>
                <a:cubicBezTo>
                  <a:pt x="931590" y="2322"/>
                  <a:pt x="1159066" y="139934"/>
                  <a:pt x="1186072" y="310633"/>
                </a:cubicBezTo>
                <a:cubicBezTo>
                  <a:pt x="1157909" y="509694"/>
                  <a:pt x="917061" y="640611"/>
                  <a:pt x="593036" y="621266"/>
                </a:cubicBezTo>
                <a:cubicBezTo>
                  <a:pt x="236286" y="605276"/>
                  <a:pt x="7823" y="485929"/>
                  <a:pt x="0" y="31063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2825982" y="1245190"/>
            <a:ext cx="1869843" cy="327899"/>
          </a:xfrm>
          <a:custGeom>
            <a:avLst/>
            <a:gdLst>
              <a:gd name="connsiteX0" fmla="*/ 0 w 1869843"/>
              <a:gd name="connsiteY0" fmla="*/ 163950 h 327899"/>
              <a:gd name="connsiteX1" fmla="*/ 934922 w 1869843"/>
              <a:gd name="connsiteY1" fmla="*/ 0 h 327899"/>
              <a:gd name="connsiteX2" fmla="*/ 1869844 w 1869843"/>
              <a:gd name="connsiteY2" fmla="*/ 163950 h 327899"/>
              <a:gd name="connsiteX3" fmla="*/ 934922 w 1869843"/>
              <a:gd name="connsiteY3" fmla="*/ 327900 h 327899"/>
              <a:gd name="connsiteX4" fmla="*/ 0 w 1869843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9843" h="327899" extrusionOk="0">
                <a:moveTo>
                  <a:pt x="0" y="163950"/>
                </a:moveTo>
                <a:cubicBezTo>
                  <a:pt x="-52073" y="41283"/>
                  <a:pt x="371764" y="17570"/>
                  <a:pt x="934922" y="0"/>
                </a:cubicBezTo>
                <a:cubicBezTo>
                  <a:pt x="1466639" y="3237"/>
                  <a:pt x="1866436" y="73511"/>
                  <a:pt x="1869844" y="163950"/>
                </a:cubicBezTo>
                <a:cubicBezTo>
                  <a:pt x="1862217" y="261946"/>
                  <a:pt x="1446732" y="352956"/>
                  <a:pt x="934922" y="327900"/>
                </a:cubicBezTo>
                <a:cubicBezTo>
                  <a:pt x="413954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3140085" y="5312810"/>
            <a:ext cx="1241636" cy="541071"/>
          </a:xfrm>
          <a:custGeom>
            <a:avLst/>
            <a:gdLst>
              <a:gd name="connsiteX0" fmla="*/ 0 w 1241636"/>
              <a:gd name="connsiteY0" fmla="*/ 270536 h 541071"/>
              <a:gd name="connsiteX1" fmla="*/ 620818 w 1241636"/>
              <a:gd name="connsiteY1" fmla="*/ 0 h 541071"/>
              <a:gd name="connsiteX2" fmla="*/ 1241636 w 1241636"/>
              <a:gd name="connsiteY2" fmla="*/ 270536 h 541071"/>
              <a:gd name="connsiteX3" fmla="*/ 620818 w 1241636"/>
              <a:gd name="connsiteY3" fmla="*/ 541072 h 541071"/>
              <a:gd name="connsiteX4" fmla="*/ 0 w 1241636"/>
              <a:gd name="connsiteY4" fmla="*/ 270536 h 541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1636" h="541071" extrusionOk="0">
                <a:moveTo>
                  <a:pt x="0" y="270536"/>
                </a:moveTo>
                <a:cubicBezTo>
                  <a:pt x="-7102" y="116742"/>
                  <a:pt x="218640" y="22260"/>
                  <a:pt x="620818" y="0"/>
                </a:cubicBezTo>
                <a:cubicBezTo>
                  <a:pt x="969241" y="1169"/>
                  <a:pt x="1232029" y="121428"/>
                  <a:pt x="1241636" y="270536"/>
                </a:cubicBezTo>
                <a:cubicBezTo>
                  <a:pt x="1199278" y="461314"/>
                  <a:pt x="959524" y="564078"/>
                  <a:pt x="620818" y="541072"/>
                </a:cubicBezTo>
                <a:cubicBezTo>
                  <a:pt x="261526" y="532086"/>
                  <a:pt x="13570" y="426433"/>
                  <a:pt x="0" y="27053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4904117" y="4924926"/>
            <a:ext cx="1414961" cy="34978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ason of refun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1648585" y="5449678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funded amount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4381721" y="5274709"/>
            <a:ext cx="1592835" cy="404091"/>
          </a:xfrm>
          <a:custGeom>
            <a:avLst/>
            <a:gdLst>
              <a:gd name="connsiteX0" fmla="*/ 0 w 1592835"/>
              <a:gd name="connsiteY0" fmla="*/ 202046 h 404091"/>
              <a:gd name="connsiteX1" fmla="*/ 796418 w 1592835"/>
              <a:gd name="connsiteY1" fmla="*/ 0 h 404091"/>
              <a:gd name="connsiteX2" fmla="*/ 1592836 w 1592835"/>
              <a:gd name="connsiteY2" fmla="*/ 202046 h 404091"/>
              <a:gd name="connsiteX3" fmla="*/ 796418 w 1592835"/>
              <a:gd name="connsiteY3" fmla="*/ 404092 h 404091"/>
              <a:gd name="connsiteX4" fmla="*/ 0 w 1592835"/>
              <a:gd name="connsiteY4" fmla="*/ 202046 h 40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835" h="404091" extrusionOk="0">
                <a:moveTo>
                  <a:pt x="0" y="202046"/>
                </a:moveTo>
                <a:cubicBezTo>
                  <a:pt x="-46824" y="61577"/>
                  <a:pt x="283894" y="27276"/>
                  <a:pt x="796418" y="0"/>
                </a:cubicBezTo>
                <a:cubicBezTo>
                  <a:pt x="1263111" y="5651"/>
                  <a:pt x="1589916" y="90552"/>
                  <a:pt x="1592836" y="202046"/>
                </a:cubicBezTo>
                <a:cubicBezTo>
                  <a:pt x="1563677" y="342109"/>
                  <a:pt x="1220335" y="492158"/>
                  <a:pt x="796418" y="404092"/>
                </a:cubicBezTo>
                <a:cubicBezTo>
                  <a:pt x="354310" y="402857"/>
                  <a:pt x="2753" y="314948"/>
                  <a:pt x="0" y="20204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8868756" y="5411577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New order total after refund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35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332BF-D34E-040F-FE43-3F22D0722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046" y="2532963"/>
            <a:ext cx="10973286" cy="12294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IN" sz="4800" dirty="0"/>
              <a:t>7. Replacement for Subscription orders</a:t>
            </a:r>
            <a:br>
              <a:rPr lang="en-IN" sz="3200" dirty="0"/>
            </a:br>
            <a:endParaRPr lang="en-IN" sz="4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4E33E-3833-7C4E-46F2-A539FAB68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</p:spPr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80C09A-39C5-4F56-4836-6A264B5A9613}"/>
              </a:ext>
            </a:extLst>
          </p:cNvPr>
          <p:cNvSpPr txBox="1"/>
          <p:nvPr/>
        </p:nvSpPr>
        <p:spPr>
          <a:xfrm>
            <a:off x="1026319" y="3956477"/>
            <a:ext cx="597693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566951" lvl="1" indent="-342900">
              <a:buFont typeface="+mj-lt"/>
              <a:buAutoNum type="alphaLcParenR"/>
              <a:defRPr sz="2000" b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776999" lvl="2" indent="-342900">
              <a:buFont typeface="+mj-lt"/>
              <a:buAutoNum type="alphaUcPeriod"/>
              <a:defRPr>
                <a:solidFill>
                  <a:schemeClr val="accent6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</a:lstStyle>
          <a:p>
            <a:pPr lvl="1"/>
            <a:r>
              <a:rPr lang="en-IN" dirty="0"/>
              <a:t>Replacement Rules</a:t>
            </a:r>
          </a:p>
          <a:p>
            <a:pPr lvl="1"/>
            <a:r>
              <a:rPr lang="en-IN" dirty="0"/>
              <a:t>Replacement Process</a:t>
            </a:r>
          </a:p>
        </p:txBody>
      </p:sp>
    </p:spTree>
    <p:extLst>
      <p:ext uri="{BB962C8B-B14F-4D97-AF65-F5344CB8AC3E}">
        <p14:creationId xmlns:p14="http://schemas.microsoft.com/office/powerpoint/2010/main" val="11633926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a.) </a:t>
            </a:r>
            <a:r>
              <a:rPr lang="en-US" sz="3200" b="1" dirty="0">
                <a:solidFill>
                  <a:schemeClr val="bg1"/>
                </a:solidFill>
              </a:rPr>
              <a:t>Replacement Rule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188FB-996E-5FDC-799A-B46912351AE7}"/>
              </a:ext>
            </a:extLst>
          </p:cNvPr>
          <p:cNvSpPr txBox="1"/>
          <p:nvPr/>
        </p:nvSpPr>
        <p:spPr>
          <a:xfrm>
            <a:off x="349088" y="2776247"/>
            <a:ext cx="11110260" cy="1477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ify customer's name for correct spelling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firm complete and accurate address manually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uble-check customer selection, shipping address, and replacement produc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 credit card details required since we will be applying a discount of 100%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ly discount of 100% cautiously, ensuring it does not exceed the original order price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EE0A65-118F-C53B-8250-2D66671BC8BB}"/>
              </a:ext>
            </a:extLst>
          </p:cNvPr>
          <p:cNvSpPr txBox="1"/>
          <p:nvPr/>
        </p:nvSpPr>
        <p:spPr>
          <a:xfrm>
            <a:off x="213527" y="1351737"/>
            <a:ext cx="11030577" cy="92333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ease be cautious of the rules below before you start making the replacement order with 100% Discount and then Mark it as “Paid”.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lease note, these are all manual steps and there is no check that can be put in place for any error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9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EE0A65-118F-C53B-8250-2D66671BC8BB}"/>
              </a:ext>
            </a:extLst>
          </p:cNvPr>
          <p:cNvSpPr txBox="1"/>
          <p:nvPr/>
        </p:nvSpPr>
        <p:spPr>
          <a:xfrm>
            <a:off x="283866" y="2206575"/>
            <a:ext cx="11030577" cy="175432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re are 15 steps in the replacement process that need to be followed in order to make a replacement order with 100% dis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ease go through the following 9 slides that lists the detailed instructions with the attached screensho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ease follow these instructions in the sequence in which they are mentioned</a:t>
            </a:r>
          </a:p>
        </p:txBody>
      </p:sp>
    </p:spTree>
    <p:extLst>
      <p:ext uri="{BB962C8B-B14F-4D97-AF65-F5344CB8AC3E}">
        <p14:creationId xmlns:p14="http://schemas.microsoft.com/office/powerpoint/2010/main" val="255552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0389319-F867-1A43-6A68-195FEBA29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82" y="1375204"/>
            <a:ext cx="10355899" cy="46941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1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971551" y="2744136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. Click on “Drafts” under “Orders”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587935" y="2404995"/>
            <a:ext cx="1869843" cy="327899"/>
          </a:xfrm>
          <a:custGeom>
            <a:avLst/>
            <a:gdLst>
              <a:gd name="connsiteX0" fmla="*/ 0 w 1869843"/>
              <a:gd name="connsiteY0" fmla="*/ 163950 h 327899"/>
              <a:gd name="connsiteX1" fmla="*/ 934922 w 1869843"/>
              <a:gd name="connsiteY1" fmla="*/ 0 h 327899"/>
              <a:gd name="connsiteX2" fmla="*/ 1869844 w 1869843"/>
              <a:gd name="connsiteY2" fmla="*/ 163950 h 327899"/>
              <a:gd name="connsiteX3" fmla="*/ 934922 w 1869843"/>
              <a:gd name="connsiteY3" fmla="*/ 327900 h 327899"/>
              <a:gd name="connsiteX4" fmla="*/ 0 w 1869843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9843" h="327899" extrusionOk="0">
                <a:moveTo>
                  <a:pt x="0" y="163950"/>
                </a:moveTo>
                <a:cubicBezTo>
                  <a:pt x="-52073" y="41283"/>
                  <a:pt x="371764" y="17570"/>
                  <a:pt x="934922" y="0"/>
                </a:cubicBezTo>
                <a:cubicBezTo>
                  <a:pt x="1466639" y="3237"/>
                  <a:pt x="1866436" y="73511"/>
                  <a:pt x="1869844" y="163950"/>
                </a:cubicBezTo>
                <a:cubicBezTo>
                  <a:pt x="1862217" y="261946"/>
                  <a:pt x="1446732" y="352956"/>
                  <a:pt x="934922" y="327900"/>
                </a:cubicBezTo>
                <a:cubicBezTo>
                  <a:pt x="413954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9754405" y="2511742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. Click on “Create Order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9933762" y="1951087"/>
            <a:ext cx="1592835" cy="404091"/>
          </a:xfrm>
          <a:custGeom>
            <a:avLst/>
            <a:gdLst>
              <a:gd name="connsiteX0" fmla="*/ 0 w 1592835"/>
              <a:gd name="connsiteY0" fmla="*/ 202046 h 404091"/>
              <a:gd name="connsiteX1" fmla="*/ 796418 w 1592835"/>
              <a:gd name="connsiteY1" fmla="*/ 0 h 404091"/>
              <a:gd name="connsiteX2" fmla="*/ 1592836 w 1592835"/>
              <a:gd name="connsiteY2" fmla="*/ 202046 h 404091"/>
              <a:gd name="connsiteX3" fmla="*/ 796418 w 1592835"/>
              <a:gd name="connsiteY3" fmla="*/ 404092 h 404091"/>
              <a:gd name="connsiteX4" fmla="*/ 0 w 1592835"/>
              <a:gd name="connsiteY4" fmla="*/ 202046 h 40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835" h="404091" extrusionOk="0">
                <a:moveTo>
                  <a:pt x="0" y="202046"/>
                </a:moveTo>
                <a:cubicBezTo>
                  <a:pt x="-46824" y="61577"/>
                  <a:pt x="283894" y="27276"/>
                  <a:pt x="796418" y="0"/>
                </a:cubicBezTo>
                <a:cubicBezTo>
                  <a:pt x="1263111" y="5651"/>
                  <a:pt x="1589916" y="90552"/>
                  <a:pt x="1592836" y="202046"/>
                </a:cubicBezTo>
                <a:cubicBezTo>
                  <a:pt x="1563677" y="342109"/>
                  <a:pt x="1220335" y="492158"/>
                  <a:pt x="796418" y="404092"/>
                </a:cubicBezTo>
                <a:cubicBezTo>
                  <a:pt x="354310" y="402857"/>
                  <a:pt x="2753" y="314948"/>
                  <a:pt x="0" y="20204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08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A7C7D6-AA0D-E06F-544A-2341E7654D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091" y="1169769"/>
            <a:ext cx="9342930" cy="50296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2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8172450" y="4007845"/>
            <a:ext cx="2700707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. Search for contacting Customer and select the correct customer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7607532" y="3581172"/>
            <a:ext cx="2584218" cy="442303"/>
          </a:xfrm>
          <a:custGeom>
            <a:avLst/>
            <a:gdLst>
              <a:gd name="connsiteX0" fmla="*/ 0 w 2584218"/>
              <a:gd name="connsiteY0" fmla="*/ 221152 h 442303"/>
              <a:gd name="connsiteX1" fmla="*/ 1292109 w 2584218"/>
              <a:gd name="connsiteY1" fmla="*/ 0 h 442303"/>
              <a:gd name="connsiteX2" fmla="*/ 2584218 w 2584218"/>
              <a:gd name="connsiteY2" fmla="*/ 221152 h 442303"/>
              <a:gd name="connsiteX3" fmla="*/ 1292109 w 2584218"/>
              <a:gd name="connsiteY3" fmla="*/ 442304 h 442303"/>
              <a:gd name="connsiteX4" fmla="*/ 0 w 2584218"/>
              <a:gd name="connsiteY4" fmla="*/ 221152 h 442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218" h="442303" extrusionOk="0">
                <a:moveTo>
                  <a:pt x="0" y="221152"/>
                </a:moveTo>
                <a:cubicBezTo>
                  <a:pt x="-36427" y="76544"/>
                  <a:pt x="468000" y="41471"/>
                  <a:pt x="1292109" y="0"/>
                </a:cubicBezTo>
                <a:cubicBezTo>
                  <a:pt x="2028618" y="4820"/>
                  <a:pt x="2563806" y="99662"/>
                  <a:pt x="2584218" y="221152"/>
                </a:cubicBezTo>
                <a:cubicBezTo>
                  <a:pt x="2553135" y="373645"/>
                  <a:pt x="2001380" y="466299"/>
                  <a:pt x="1292109" y="442304"/>
                </a:cubicBezTo>
                <a:cubicBezTo>
                  <a:pt x="565254" y="435059"/>
                  <a:pt x="19325" y="352525"/>
                  <a:pt x="0" y="22115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64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A.) Check the existing Or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56434C-2422-7F69-5C34-8791BBDEE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6638" y="1028574"/>
            <a:ext cx="10095350" cy="56659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B3D103C6-7623-5D98-3ED5-70B16489D57A}"/>
              </a:ext>
            </a:extLst>
          </p:cNvPr>
          <p:cNvSpPr/>
          <p:nvPr/>
        </p:nvSpPr>
        <p:spPr>
          <a:xfrm>
            <a:off x="10070406" y="1022994"/>
            <a:ext cx="1061582" cy="345662"/>
          </a:xfrm>
          <a:custGeom>
            <a:avLst/>
            <a:gdLst>
              <a:gd name="connsiteX0" fmla="*/ 0 w 1061582"/>
              <a:gd name="connsiteY0" fmla="*/ 172831 h 345662"/>
              <a:gd name="connsiteX1" fmla="*/ 530791 w 1061582"/>
              <a:gd name="connsiteY1" fmla="*/ 0 h 345662"/>
              <a:gd name="connsiteX2" fmla="*/ 1061582 w 1061582"/>
              <a:gd name="connsiteY2" fmla="*/ 172831 h 345662"/>
              <a:gd name="connsiteX3" fmla="*/ 530791 w 1061582"/>
              <a:gd name="connsiteY3" fmla="*/ 345662 h 345662"/>
              <a:gd name="connsiteX4" fmla="*/ 0 w 1061582"/>
              <a:gd name="connsiteY4" fmla="*/ 172831 h 34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1582" h="345662" extrusionOk="0">
                <a:moveTo>
                  <a:pt x="0" y="172831"/>
                </a:moveTo>
                <a:cubicBezTo>
                  <a:pt x="-47048" y="48359"/>
                  <a:pt x="197832" y="14942"/>
                  <a:pt x="530791" y="0"/>
                </a:cubicBezTo>
                <a:cubicBezTo>
                  <a:pt x="836466" y="2637"/>
                  <a:pt x="1039381" y="78085"/>
                  <a:pt x="1061582" y="172831"/>
                </a:cubicBezTo>
                <a:cubicBezTo>
                  <a:pt x="1044069" y="285386"/>
                  <a:pt x="813305" y="404440"/>
                  <a:pt x="530791" y="345662"/>
                </a:cubicBezTo>
                <a:cubicBezTo>
                  <a:pt x="235181" y="344315"/>
                  <a:pt x="15806" y="275835"/>
                  <a:pt x="0" y="17283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3DBB37A-0BD2-BF03-AB69-0BA490AB9511}"/>
              </a:ext>
            </a:extLst>
          </p:cNvPr>
          <p:cNvSpPr/>
          <p:nvPr/>
        </p:nvSpPr>
        <p:spPr>
          <a:xfrm>
            <a:off x="1484787" y="1635552"/>
            <a:ext cx="746706" cy="265895"/>
          </a:xfrm>
          <a:custGeom>
            <a:avLst/>
            <a:gdLst>
              <a:gd name="connsiteX0" fmla="*/ 0 w 746706"/>
              <a:gd name="connsiteY0" fmla="*/ 132948 h 265895"/>
              <a:gd name="connsiteX1" fmla="*/ 373353 w 746706"/>
              <a:gd name="connsiteY1" fmla="*/ 0 h 265895"/>
              <a:gd name="connsiteX2" fmla="*/ 746706 w 746706"/>
              <a:gd name="connsiteY2" fmla="*/ 132948 h 265895"/>
              <a:gd name="connsiteX3" fmla="*/ 373353 w 746706"/>
              <a:gd name="connsiteY3" fmla="*/ 265896 h 265895"/>
              <a:gd name="connsiteX4" fmla="*/ 0 w 746706"/>
              <a:gd name="connsiteY4" fmla="*/ 132948 h 265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6706" h="265895" extrusionOk="0">
                <a:moveTo>
                  <a:pt x="0" y="132948"/>
                </a:moveTo>
                <a:cubicBezTo>
                  <a:pt x="-22175" y="45845"/>
                  <a:pt x="136393" y="11546"/>
                  <a:pt x="373353" y="0"/>
                </a:cubicBezTo>
                <a:cubicBezTo>
                  <a:pt x="585983" y="1354"/>
                  <a:pt x="728547" y="60100"/>
                  <a:pt x="746706" y="132948"/>
                </a:cubicBezTo>
                <a:cubicBezTo>
                  <a:pt x="730383" y="222313"/>
                  <a:pt x="576365" y="283498"/>
                  <a:pt x="373353" y="265896"/>
                </a:cubicBezTo>
                <a:cubicBezTo>
                  <a:pt x="153853" y="258618"/>
                  <a:pt x="2522" y="207578"/>
                  <a:pt x="0" y="13294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30D1B50-A841-7456-F9A9-E9008AB7EDF6}"/>
              </a:ext>
            </a:extLst>
          </p:cNvPr>
          <p:cNvSpPr/>
          <p:nvPr/>
        </p:nvSpPr>
        <p:spPr>
          <a:xfrm>
            <a:off x="3206110" y="4105579"/>
            <a:ext cx="739708" cy="313875"/>
          </a:xfrm>
          <a:custGeom>
            <a:avLst/>
            <a:gdLst>
              <a:gd name="connsiteX0" fmla="*/ 0 w 739708"/>
              <a:gd name="connsiteY0" fmla="*/ 156938 h 313875"/>
              <a:gd name="connsiteX1" fmla="*/ 369854 w 739708"/>
              <a:gd name="connsiteY1" fmla="*/ 0 h 313875"/>
              <a:gd name="connsiteX2" fmla="*/ 739708 w 739708"/>
              <a:gd name="connsiteY2" fmla="*/ 156938 h 313875"/>
              <a:gd name="connsiteX3" fmla="*/ 369854 w 739708"/>
              <a:gd name="connsiteY3" fmla="*/ 313876 h 313875"/>
              <a:gd name="connsiteX4" fmla="*/ 0 w 739708"/>
              <a:gd name="connsiteY4" fmla="*/ 156938 h 31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708" h="313875" extrusionOk="0">
                <a:moveTo>
                  <a:pt x="0" y="156938"/>
                </a:moveTo>
                <a:cubicBezTo>
                  <a:pt x="-32381" y="50291"/>
                  <a:pt x="148466" y="6426"/>
                  <a:pt x="369854" y="0"/>
                </a:cubicBezTo>
                <a:cubicBezTo>
                  <a:pt x="579330" y="1097"/>
                  <a:pt x="721791" y="70834"/>
                  <a:pt x="739708" y="156938"/>
                </a:cubicBezTo>
                <a:cubicBezTo>
                  <a:pt x="718974" y="263860"/>
                  <a:pt x="569279" y="340628"/>
                  <a:pt x="369854" y="313876"/>
                </a:cubicBezTo>
                <a:cubicBezTo>
                  <a:pt x="160676" y="311188"/>
                  <a:pt x="5862" y="246413"/>
                  <a:pt x="0" y="15693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0E2B3C0-F476-8273-BA2F-3DE513ABDD3A}"/>
              </a:ext>
            </a:extLst>
          </p:cNvPr>
          <p:cNvSpPr/>
          <p:nvPr/>
        </p:nvSpPr>
        <p:spPr>
          <a:xfrm>
            <a:off x="7863575" y="4074091"/>
            <a:ext cx="1681438" cy="345662"/>
          </a:xfrm>
          <a:custGeom>
            <a:avLst/>
            <a:gdLst>
              <a:gd name="connsiteX0" fmla="*/ 0 w 1681438"/>
              <a:gd name="connsiteY0" fmla="*/ 172831 h 345662"/>
              <a:gd name="connsiteX1" fmla="*/ 840719 w 1681438"/>
              <a:gd name="connsiteY1" fmla="*/ 0 h 345662"/>
              <a:gd name="connsiteX2" fmla="*/ 1681438 w 1681438"/>
              <a:gd name="connsiteY2" fmla="*/ 172831 h 345662"/>
              <a:gd name="connsiteX3" fmla="*/ 840719 w 1681438"/>
              <a:gd name="connsiteY3" fmla="*/ 345662 h 345662"/>
              <a:gd name="connsiteX4" fmla="*/ 0 w 1681438"/>
              <a:gd name="connsiteY4" fmla="*/ 172831 h 34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438" h="345662" extrusionOk="0">
                <a:moveTo>
                  <a:pt x="0" y="172831"/>
                </a:moveTo>
                <a:cubicBezTo>
                  <a:pt x="-21641" y="64030"/>
                  <a:pt x="352890" y="8825"/>
                  <a:pt x="840719" y="0"/>
                </a:cubicBezTo>
                <a:cubicBezTo>
                  <a:pt x="1317562" y="2637"/>
                  <a:pt x="1659237" y="78085"/>
                  <a:pt x="1681438" y="172831"/>
                </a:cubicBezTo>
                <a:cubicBezTo>
                  <a:pt x="1655949" y="293174"/>
                  <a:pt x="1294415" y="404363"/>
                  <a:pt x="840719" y="345662"/>
                </a:cubicBezTo>
                <a:cubicBezTo>
                  <a:pt x="373941" y="344315"/>
                  <a:pt x="15806" y="275835"/>
                  <a:pt x="0" y="17283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982DAE-1E9A-5B1A-4970-2ADC611605C0}"/>
              </a:ext>
            </a:extLst>
          </p:cNvPr>
          <p:cNvSpPr/>
          <p:nvPr/>
        </p:nvSpPr>
        <p:spPr>
          <a:xfrm>
            <a:off x="8248650" y="1022994"/>
            <a:ext cx="1538817" cy="48240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1. Check login He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D09970-9B5E-03B5-6B85-7775006900D2}"/>
              </a:ext>
            </a:extLst>
          </p:cNvPr>
          <p:cNvSpPr/>
          <p:nvPr/>
        </p:nvSpPr>
        <p:spPr>
          <a:xfrm>
            <a:off x="2400476" y="1348465"/>
            <a:ext cx="1299988" cy="31387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2. Click “Orders”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061EDE-75FF-0E7D-939E-B60467152FAB}"/>
              </a:ext>
            </a:extLst>
          </p:cNvPr>
          <p:cNvSpPr/>
          <p:nvPr/>
        </p:nvSpPr>
        <p:spPr>
          <a:xfrm>
            <a:off x="7621120" y="4509020"/>
            <a:ext cx="2274455" cy="48240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3. Confirm order is paid and fulfilled before proceed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7C3E3B-5948-9D76-D8B6-C1F1FB6B3E3C}"/>
              </a:ext>
            </a:extLst>
          </p:cNvPr>
          <p:cNvSpPr/>
          <p:nvPr/>
        </p:nvSpPr>
        <p:spPr>
          <a:xfrm>
            <a:off x="2403887" y="4494626"/>
            <a:ext cx="2695864" cy="46181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4. Click on order number- #1029</a:t>
            </a:r>
          </a:p>
        </p:txBody>
      </p:sp>
    </p:spTree>
    <p:extLst>
      <p:ext uri="{BB962C8B-B14F-4D97-AF65-F5344CB8AC3E}">
        <p14:creationId xmlns:p14="http://schemas.microsoft.com/office/powerpoint/2010/main" val="10836604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B2D6514-8166-5EC1-44A5-573E080EA6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3312" y="1165962"/>
            <a:ext cx="7262489" cy="49610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3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6942526" y="4105275"/>
            <a:ext cx="1620449" cy="1207535"/>
          </a:xfrm>
          <a:custGeom>
            <a:avLst/>
            <a:gdLst>
              <a:gd name="connsiteX0" fmla="*/ 0 w 1620449"/>
              <a:gd name="connsiteY0" fmla="*/ 603768 h 1207535"/>
              <a:gd name="connsiteX1" fmla="*/ 810225 w 1620449"/>
              <a:gd name="connsiteY1" fmla="*/ 0 h 1207535"/>
              <a:gd name="connsiteX2" fmla="*/ 1620450 w 1620449"/>
              <a:gd name="connsiteY2" fmla="*/ 603768 h 1207535"/>
              <a:gd name="connsiteX3" fmla="*/ 810225 w 1620449"/>
              <a:gd name="connsiteY3" fmla="*/ 1207536 h 1207535"/>
              <a:gd name="connsiteX4" fmla="*/ 0 w 1620449"/>
              <a:gd name="connsiteY4" fmla="*/ 603768 h 1207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0449" h="1207535" extrusionOk="0">
                <a:moveTo>
                  <a:pt x="0" y="603768"/>
                </a:moveTo>
                <a:cubicBezTo>
                  <a:pt x="-39748" y="245798"/>
                  <a:pt x="258767" y="39027"/>
                  <a:pt x="810225" y="0"/>
                </a:cubicBezTo>
                <a:cubicBezTo>
                  <a:pt x="1311500" y="11326"/>
                  <a:pt x="1562733" y="272151"/>
                  <a:pt x="1620450" y="603768"/>
                </a:cubicBezTo>
                <a:cubicBezTo>
                  <a:pt x="1557203" y="998984"/>
                  <a:pt x="1240790" y="1301003"/>
                  <a:pt x="810225" y="1207536"/>
                </a:cubicBezTo>
                <a:cubicBezTo>
                  <a:pt x="348243" y="1199599"/>
                  <a:pt x="43454" y="957983"/>
                  <a:pt x="0" y="60376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8191500" y="5021827"/>
            <a:ext cx="2683443" cy="54107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. Check if shipping address is correct.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0C73838-A926-C1BC-8A72-22AD3BB225F3}"/>
              </a:ext>
            </a:extLst>
          </p:cNvPr>
          <p:cNvSpPr/>
          <p:nvPr/>
        </p:nvSpPr>
        <p:spPr>
          <a:xfrm>
            <a:off x="6035253" y="2064879"/>
            <a:ext cx="907273" cy="364795"/>
          </a:xfrm>
          <a:custGeom>
            <a:avLst/>
            <a:gdLst>
              <a:gd name="connsiteX0" fmla="*/ 0 w 907273"/>
              <a:gd name="connsiteY0" fmla="*/ 182398 h 364795"/>
              <a:gd name="connsiteX1" fmla="*/ 453637 w 907273"/>
              <a:gd name="connsiteY1" fmla="*/ 0 h 364795"/>
              <a:gd name="connsiteX2" fmla="*/ 907274 w 907273"/>
              <a:gd name="connsiteY2" fmla="*/ 182398 h 364795"/>
              <a:gd name="connsiteX3" fmla="*/ 453637 w 907273"/>
              <a:gd name="connsiteY3" fmla="*/ 364796 h 364795"/>
              <a:gd name="connsiteX4" fmla="*/ 0 w 907273"/>
              <a:gd name="connsiteY4" fmla="*/ 182398 h 364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7273" h="364795" extrusionOk="0">
                <a:moveTo>
                  <a:pt x="0" y="182398"/>
                </a:moveTo>
                <a:cubicBezTo>
                  <a:pt x="-16266" y="71629"/>
                  <a:pt x="177996" y="9422"/>
                  <a:pt x="453637" y="0"/>
                </a:cubicBezTo>
                <a:cubicBezTo>
                  <a:pt x="708963" y="1008"/>
                  <a:pt x="886991" y="82307"/>
                  <a:pt x="907274" y="182398"/>
                </a:cubicBezTo>
                <a:cubicBezTo>
                  <a:pt x="881574" y="308232"/>
                  <a:pt x="701323" y="380557"/>
                  <a:pt x="453637" y="364796"/>
                </a:cubicBezTo>
                <a:cubicBezTo>
                  <a:pt x="193390" y="359483"/>
                  <a:pt x="8415" y="287155"/>
                  <a:pt x="0" y="182398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02B8E8-1CB5-0155-822C-3C166F7D2C8C}"/>
              </a:ext>
            </a:extLst>
          </p:cNvPr>
          <p:cNvSpPr/>
          <p:nvPr/>
        </p:nvSpPr>
        <p:spPr>
          <a:xfrm>
            <a:off x="5875726" y="1250677"/>
            <a:ext cx="2464603" cy="48782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5. Click on “Browse” to select product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7E50DC-12C4-C4C7-BF06-8D4B6D33BA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4726" y="1055468"/>
            <a:ext cx="7399661" cy="50677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4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2202114" y="1344886"/>
            <a:ext cx="3117578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6. Click on “All products” to locate the product to be replaced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2511878" y="2690856"/>
            <a:ext cx="1869843" cy="327899"/>
          </a:xfrm>
          <a:custGeom>
            <a:avLst/>
            <a:gdLst>
              <a:gd name="connsiteX0" fmla="*/ 0 w 1869843"/>
              <a:gd name="connsiteY0" fmla="*/ 163950 h 327899"/>
              <a:gd name="connsiteX1" fmla="*/ 934922 w 1869843"/>
              <a:gd name="connsiteY1" fmla="*/ 0 h 327899"/>
              <a:gd name="connsiteX2" fmla="*/ 1869844 w 1869843"/>
              <a:gd name="connsiteY2" fmla="*/ 163950 h 327899"/>
              <a:gd name="connsiteX3" fmla="*/ 934922 w 1869843"/>
              <a:gd name="connsiteY3" fmla="*/ 327900 h 327899"/>
              <a:gd name="connsiteX4" fmla="*/ 0 w 1869843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9843" h="327899" extrusionOk="0">
                <a:moveTo>
                  <a:pt x="0" y="163950"/>
                </a:moveTo>
                <a:cubicBezTo>
                  <a:pt x="-52073" y="41283"/>
                  <a:pt x="371764" y="17570"/>
                  <a:pt x="934922" y="0"/>
                </a:cubicBezTo>
                <a:cubicBezTo>
                  <a:pt x="1466639" y="3237"/>
                  <a:pt x="1866436" y="73511"/>
                  <a:pt x="1869844" y="163950"/>
                </a:cubicBezTo>
                <a:cubicBezTo>
                  <a:pt x="1862217" y="261946"/>
                  <a:pt x="1446732" y="352956"/>
                  <a:pt x="934922" y="327900"/>
                </a:cubicBezTo>
                <a:cubicBezTo>
                  <a:pt x="413954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72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65AF33B-9849-ACC7-BEA2-87F94A144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669" y="996403"/>
            <a:ext cx="4785775" cy="52811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5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759097" y="1730714"/>
            <a:ext cx="3079478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7. Select the product to be replaced by checking the box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7508229" y="5691956"/>
            <a:ext cx="816621" cy="390826"/>
          </a:xfrm>
          <a:custGeom>
            <a:avLst/>
            <a:gdLst>
              <a:gd name="connsiteX0" fmla="*/ 0 w 816621"/>
              <a:gd name="connsiteY0" fmla="*/ 195413 h 390826"/>
              <a:gd name="connsiteX1" fmla="*/ 408311 w 816621"/>
              <a:gd name="connsiteY1" fmla="*/ 0 h 390826"/>
              <a:gd name="connsiteX2" fmla="*/ 816622 w 816621"/>
              <a:gd name="connsiteY2" fmla="*/ 195413 h 390826"/>
              <a:gd name="connsiteX3" fmla="*/ 408311 w 816621"/>
              <a:gd name="connsiteY3" fmla="*/ 390826 h 390826"/>
              <a:gd name="connsiteX4" fmla="*/ 0 w 816621"/>
              <a:gd name="connsiteY4" fmla="*/ 195413 h 390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6621" h="390826" extrusionOk="0">
                <a:moveTo>
                  <a:pt x="0" y="195413"/>
                </a:moveTo>
                <a:cubicBezTo>
                  <a:pt x="-39069" y="63390"/>
                  <a:pt x="146952" y="13457"/>
                  <a:pt x="408311" y="0"/>
                </a:cubicBezTo>
                <a:cubicBezTo>
                  <a:pt x="642674" y="1865"/>
                  <a:pt x="809665" y="87710"/>
                  <a:pt x="816622" y="195413"/>
                </a:cubicBezTo>
                <a:cubicBezTo>
                  <a:pt x="780824" y="338296"/>
                  <a:pt x="631068" y="406010"/>
                  <a:pt x="408311" y="390826"/>
                </a:cubicBezTo>
                <a:cubicBezTo>
                  <a:pt x="173408" y="385683"/>
                  <a:pt x="16268" y="311110"/>
                  <a:pt x="0" y="19541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3738562" y="2188582"/>
            <a:ext cx="638175" cy="327899"/>
          </a:xfrm>
          <a:custGeom>
            <a:avLst/>
            <a:gdLst>
              <a:gd name="connsiteX0" fmla="*/ 0 w 638175"/>
              <a:gd name="connsiteY0" fmla="*/ 163950 h 327899"/>
              <a:gd name="connsiteX1" fmla="*/ 319088 w 638175"/>
              <a:gd name="connsiteY1" fmla="*/ 0 h 327899"/>
              <a:gd name="connsiteX2" fmla="*/ 638176 w 638175"/>
              <a:gd name="connsiteY2" fmla="*/ 163950 h 327899"/>
              <a:gd name="connsiteX3" fmla="*/ 319088 w 638175"/>
              <a:gd name="connsiteY3" fmla="*/ 327900 h 327899"/>
              <a:gd name="connsiteX4" fmla="*/ 0 w 638175"/>
              <a:gd name="connsiteY4" fmla="*/ 163950 h 32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175" h="327899" extrusionOk="0">
                <a:moveTo>
                  <a:pt x="0" y="163950"/>
                </a:moveTo>
                <a:cubicBezTo>
                  <a:pt x="-6046" y="69674"/>
                  <a:pt x="117896" y="9370"/>
                  <a:pt x="319088" y="0"/>
                </a:cubicBezTo>
                <a:cubicBezTo>
                  <a:pt x="510689" y="3237"/>
                  <a:pt x="634768" y="73511"/>
                  <a:pt x="638176" y="163950"/>
                </a:cubicBezTo>
                <a:cubicBezTo>
                  <a:pt x="634148" y="258430"/>
                  <a:pt x="491124" y="351064"/>
                  <a:pt x="319088" y="327900"/>
                </a:cubicBezTo>
                <a:cubicBezTo>
                  <a:pt x="138236" y="325370"/>
                  <a:pt x="2830" y="255849"/>
                  <a:pt x="0" y="1639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8308281" y="5672207"/>
            <a:ext cx="143177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8. Click on “Add”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71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B744CD0-CA15-AC98-4C20-AEB97D12E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190" y="1181205"/>
            <a:ext cx="7056732" cy="48924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6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054372" y="3916749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9. Click on “Add discount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2446190" y="4371976"/>
            <a:ext cx="1135210" cy="344364"/>
          </a:xfrm>
          <a:custGeom>
            <a:avLst/>
            <a:gdLst>
              <a:gd name="connsiteX0" fmla="*/ 0 w 1135210"/>
              <a:gd name="connsiteY0" fmla="*/ 172182 h 344364"/>
              <a:gd name="connsiteX1" fmla="*/ 567605 w 1135210"/>
              <a:gd name="connsiteY1" fmla="*/ 0 h 344364"/>
              <a:gd name="connsiteX2" fmla="*/ 1135210 w 1135210"/>
              <a:gd name="connsiteY2" fmla="*/ 172182 h 344364"/>
              <a:gd name="connsiteX3" fmla="*/ 567605 w 1135210"/>
              <a:gd name="connsiteY3" fmla="*/ 344364 h 344364"/>
              <a:gd name="connsiteX4" fmla="*/ 0 w 1135210"/>
              <a:gd name="connsiteY4" fmla="*/ 172182 h 344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210" h="344364" extrusionOk="0">
                <a:moveTo>
                  <a:pt x="0" y="172182"/>
                </a:moveTo>
                <a:cubicBezTo>
                  <a:pt x="-52388" y="44775"/>
                  <a:pt x="239380" y="5534"/>
                  <a:pt x="567605" y="0"/>
                </a:cubicBezTo>
                <a:cubicBezTo>
                  <a:pt x="885142" y="854"/>
                  <a:pt x="1125428" y="77400"/>
                  <a:pt x="1135210" y="172182"/>
                </a:cubicBezTo>
                <a:cubicBezTo>
                  <a:pt x="1114107" y="287883"/>
                  <a:pt x="877882" y="362071"/>
                  <a:pt x="567605" y="344364"/>
                </a:cubicBezTo>
                <a:cubicBezTo>
                  <a:pt x="240754" y="337048"/>
                  <a:pt x="18883" y="276297"/>
                  <a:pt x="0" y="17218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3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01F92F0-8F73-7706-82D2-7B5F8DAAF2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0687" y="1722295"/>
            <a:ext cx="5067739" cy="32768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7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1143000" y="2775888"/>
            <a:ext cx="2309313" cy="53553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0. Select Discount type as “Percentage” for replacement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3452313" y="2838451"/>
            <a:ext cx="1414962" cy="706260"/>
          </a:xfrm>
          <a:custGeom>
            <a:avLst/>
            <a:gdLst>
              <a:gd name="connsiteX0" fmla="*/ 0 w 1414962"/>
              <a:gd name="connsiteY0" fmla="*/ 353130 h 706260"/>
              <a:gd name="connsiteX1" fmla="*/ 707481 w 1414962"/>
              <a:gd name="connsiteY1" fmla="*/ 0 h 706260"/>
              <a:gd name="connsiteX2" fmla="*/ 1414962 w 1414962"/>
              <a:gd name="connsiteY2" fmla="*/ 353130 h 706260"/>
              <a:gd name="connsiteX3" fmla="*/ 707481 w 1414962"/>
              <a:gd name="connsiteY3" fmla="*/ 706260 h 706260"/>
              <a:gd name="connsiteX4" fmla="*/ 0 w 1414962"/>
              <a:gd name="connsiteY4" fmla="*/ 353130 h 70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4962" h="706260" extrusionOk="0">
                <a:moveTo>
                  <a:pt x="0" y="353130"/>
                </a:moveTo>
                <a:cubicBezTo>
                  <a:pt x="-27954" y="140859"/>
                  <a:pt x="304557" y="4576"/>
                  <a:pt x="707481" y="0"/>
                </a:cubicBezTo>
                <a:cubicBezTo>
                  <a:pt x="1129788" y="6648"/>
                  <a:pt x="1382976" y="159119"/>
                  <a:pt x="1414962" y="353130"/>
                </a:cubicBezTo>
                <a:cubicBezTo>
                  <a:pt x="1367915" y="594102"/>
                  <a:pt x="1085329" y="777467"/>
                  <a:pt x="707481" y="706260"/>
                </a:cubicBezTo>
                <a:cubicBezTo>
                  <a:pt x="304102" y="699340"/>
                  <a:pt x="6822" y="551418"/>
                  <a:pt x="0" y="35313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6549DF-E76F-612C-E672-925D6BA54DBC}"/>
              </a:ext>
            </a:extLst>
          </p:cNvPr>
          <p:cNvSpPr/>
          <p:nvPr/>
        </p:nvSpPr>
        <p:spPr>
          <a:xfrm>
            <a:off x="1131374" y="3463819"/>
            <a:ext cx="2309313" cy="53553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elect Discount type as “Amount” in case of discount other than 100%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5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02EFE1F-BE32-0CB3-098E-E0533B04BE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8400" y="1894522"/>
            <a:ext cx="5072312" cy="29324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8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F961A0-469A-EF40-2D4C-87BC27869C5C}"/>
              </a:ext>
            </a:extLst>
          </p:cNvPr>
          <p:cNvSpPr/>
          <p:nvPr/>
        </p:nvSpPr>
        <p:spPr>
          <a:xfrm>
            <a:off x="6221218" y="2234504"/>
            <a:ext cx="1543049" cy="43277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1. Add “Discount value” of 100% 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7DDFBF7-8F8F-3B7B-044F-4F21CED42DB7}"/>
              </a:ext>
            </a:extLst>
          </p:cNvPr>
          <p:cNvSpPr/>
          <p:nvPr/>
        </p:nvSpPr>
        <p:spPr>
          <a:xfrm>
            <a:off x="5792572" y="2687109"/>
            <a:ext cx="1627403" cy="606953"/>
          </a:xfrm>
          <a:custGeom>
            <a:avLst/>
            <a:gdLst>
              <a:gd name="connsiteX0" fmla="*/ 0 w 1627403"/>
              <a:gd name="connsiteY0" fmla="*/ 303477 h 606953"/>
              <a:gd name="connsiteX1" fmla="*/ 813702 w 1627403"/>
              <a:gd name="connsiteY1" fmla="*/ 0 h 606953"/>
              <a:gd name="connsiteX2" fmla="*/ 1627404 w 1627403"/>
              <a:gd name="connsiteY2" fmla="*/ 303477 h 606953"/>
              <a:gd name="connsiteX3" fmla="*/ 813702 w 1627403"/>
              <a:gd name="connsiteY3" fmla="*/ 606954 h 606953"/>
              <a:gd name="connsiteX4" fmla="*/ 0 w 1627403"/>
              <a:gd name="connsiteY4" fmla="*/ 303477 h 60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7403" h="606953" extrusionOk="0">
                <a:moveTo>
                  <a:pt x="0" y="303477"/>
                </a:moveTo>
                <a:cubicBezTo>
                  <a:pt x="-75063" y="89570"/>
                  <a:pt x="318960" y="17019"/>
                  <a:pt x="813702" y="0"/>
                </a:cubicBezTo>
                <a:cubicBezTo>
                  <a:pt x="1276832" y="2892"/>
                  <a:pt x="1613714" y="136306"/>
                  <a:pt x="1627404" y="303477"/>
                </a:cubicBezTo>
                <a:cubicBezTo>
                  <a:pt x="1602571" y="495333"/>
                  <a:pt x="1251413" y="671534"/>
                  <a:pt x="813702" y="606954"/>
                </a:cubicBezTo>
                <a:cubicBezTo>
                  <a:pt x="358923" y="604008"/>
                  <a:pt x="5314" y="473622"/>
                  <a:pt x="0" y="30347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D9F985D-D03D-4DF7-1712-BF6A3DA1E29C}"/>
              </a:ext>
            </a:extLst>
          </p:cNvPr>
          <p:cNvSpPr/>
          <p:nvPr/>
        </p:nvSpPr>
        <p:spPr>
          <a:xfrm>
            <a:off x="7238999" y="4054191"/>
            <a:ext cx="1050537" cy="606953"/>
          </a:xfrm>
          <a:custGeom>
            <a:avLst/>
            <a:gdLst>
              <a:gd name="connsiteX0" fmla="*/ 0 w 1050537"/>
              <a:gd name="connsiteY0" fmla="*/ 303477 h 606953"/>
              <a:gd name="connsiteX1" fmla="*/ 525269 w 1050537"/>
              <a:gd name="connsiteY1" fmla="*/ 0 h 606953"/>
              <a:gd name="connsiteX2" fmla="*/ 1050538 w 1050537"/>
              <a:gd name="connsiteY2" fmla="*/ 303477 h 606953"/>
              <a:gd name="connsiteX3" fmla="*/ 525269 w 1050537"/>
              <a:gd name="connsiteY3" fmla="*/ 606954 h 606953"/>
              <a:gd name="connsiteX4" fmla="*/ 0 w 1050537"/>
              <a:gd name="connsiteY4" fmla="*/ 303477 h 60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0537" h="606953" extrusionOk="0">
                <a:moveTo>
                  <a:pt x="0" y="303477"/>
                </a:moveTo>
                <a:cubicBezTo>
                  <a:pt x="-54953" y="101975"/>
                  <a:pt x="179270" y="20981"/>
                  <a:pt x="525269" y="0"/>
                </a:cubicBezTo>
                <a:cubicBezTo>
                  <a:pt x="829102" y="2892"/>
                  <a:pt x="1036848" y="136306"/>
                  <a:pt x="1050538" y="303477"/>
                </a:cubicBezTo>
                <a:cubicBezTo>
                  <a:pt x="1029917" y="491221"/>
                  <a:pt x="806671" y="655022"/>
                  <a:pt x="525269" y="606954"/>
                </a:cubicBezTo>
                <a:cubicBezTo>
                  <a:pt x="229787" y="604008"/>
                  <a:pt x="5314" y="473622"/>
                  <a:pt x="0" y="30347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8289536" y="4313693"/>
            <a:ext cx="1414961" cy="34978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3. Click “Apply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F3866A-14D0-A0C2-51CC-6616AFF0B081}"/>
              </a:ext>
            </a:extLst>
          </p:cNvPr>
          <p:cNvSpPr/>
          <p:nvPr/>
        </p:nvSpPr>
        <p:spPr>
          <a:xfrm>
            <a:off x="1805548" y="3386746"/>
            <a:ext cx="1549951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2. Enter “Reason for discount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3490222" y="3294062"/>
            <a:ext cx="2730996" cy="644892"/>
          </a:xfrm>
          <a:custGeom>
            <a:avLst/>
            <a:gdLst>
              <a:gd name="connsiteX0" fmla="*/ 0 w 2730996"/>
              <a:gd name="connsiteY0" fmla="*/ 322446 h 644892"/>
              <a:gd name="connsiteX1" fmla="*/ 1365498 w 2730996"/>
              <a:gd name="connsiteY1" fmla="*/ 0 h 644892"/>
              <a:gd name="connsiteX2" fmla="*/ 2730996 w 2730996"/>
              <a:gd name="connsiteY2" fmla="*/ 322446 h 644892"/>
              <a:gd name="connsiteX3" fmla="*/ 1365498 w 2730996"/>
              <a:gd name="connsiteY3" fmla="*/ 644892 h 644892"/>
              <a:gd name="connsiteX4" fmla="*/ 0 w 2730996"/>
              <a:gd name="connsiteY4" fmla="*/ 322446 h 64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0996" h="644892" extrusionOk="0">
                <a:moveTo>
                  <a:pt x="0" y="322446"/>
                </a:moveTo>
                <a:cubicBezTo>
                  <a:pt x="-96198" y="85027"/>
                  <a:pt x="554885" y="21194"/>
                  <a:pt x="1365498" y="0"/>
                </a:cubicBezTo>
                <a:cubicBezTo>
                  <a:pt x="2125780" y="1292"/>
                  <a:pt x="2716661" y="144820"/>
                  <a:pt x="2730996" y="322446"/>
                </a:cubicBezTo>
                <a:cubicBezTo>
                  <a:pt x="2716172" y="515004"/>
                  <a:pt x="2114870" y="671268"/>
                  <a:pt x="1365498" y="644892"/>
                </a:cubicBezTo>
                <a:cubicBezTo>
                  <a:pt x="600052" y="638709"/>
                  <a:pt x="29468" y="514608"/>
                  <a:pt x="0" y="32244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301C780-03D4-51F1-9BCB-244D6F458C92}"/>
              </a:ext>
            </a:extLst>
          </p:cNvPr>
          <p:cNvSpPr/>
          <p:nvPr/>
        </p:nvSpPr>
        <p:spPr>
          <a:xfrm>
            <a:off x="4805377" y="5008991"/>
            <a:ext cx="1704946" cy="86192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2a Enter the reference order number of the original subscription order</a:t>
            </a:r>
            <a:endParaRPr lang="en-IN" sz="12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CEADDBC-EDE0-27D4-EED8-90F83FEFADBA}"/>
              </a:ext>
            </a:extLst>
          </p:cNvPr>
          <p:cNvCxnSpPr>
            <a:cxnSpLocks/>
            <a:stCxn id="3" idx="0"/>
          </p:cNvCxnSpPr>
          <p:nvPr/>
        </p:nvCxnSpPr>
        <p:spPr>
          <a:xfrm flipV="1">
            <a:off x="5657850" y="3741057"/>
            <a:ext cx="17122" cy="1267934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18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17DB2DF-DEC3-FB16-C9E6-C8042F6DDA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9103" y="1021158"/>
            <a:ext cx="6530906" cy="5517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315027"/>
            <a:ext cx="9893284" cy="535531"/>
          </a:xfrm>
        </p:spPr>
        <p:txBody>
          <a:bodyPr/>
          <a:lstStyle/>
          <a:p>
            <a:r>
              <a:rPr lang="en-IN" sz="3200" dirty="0">
                <a:solidFill>
                  <a:schemeClr val="bg1"/>
                </a:solidFill>
              </a:rPr>
              <a:t>7.b.) </a:t>
            </a:r>
            <a:r>
              <a:rPr lang="en-US" sz="3200" b="1" dirty="0">
                <a:solidFill>
                  <a:schemeClr val="bg1"/>
                </a:solidFill>
              </a:rPr>
              <a:t>Replacement Process - 9</a:t>
            </a:r>
            <a:endParaRPr lang="en-US" sz="32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B06041-6CF4-C2DF-DF2C-0FD3F3C25FC5}"/>
              </a:ext>
            </a:extLst>
          </p:cNvPr>
          <p:cNvSpPr/>
          <p:nvPr/>
        </p:nvSpPr>
        <p:spPr>
          <a:xfrm>
            <a:off x="8275721" y="966835"/>
            <a:ext cx="971196" cy="442304"/>
          </a:xfrm>
          <a:custGeom>
            <a:avLst/>
            <a:gdLst>
              <a:gd name="connsiteX0" fmla="*/ 0 w 971196"/>
              <a:gd name="connsiteY0" fmla="*/ 221152 h 442304"/>
              <a:gd name="connsiteX1" fmla="*/ 485598 w 971196"/>
              <a:gd name="connsiteY1" fmla="*/ 0 h 442304"/>
              <a:gd name="connsiteX2" fmla="*/ 971196 w 971196"/>
              <a:gd name="connsiteY2" fmla="*/ 221152 h 442304"/>
              <a:gd name="connsiteX3" fmla="*/ 485598 w 971196"/>
              <a:gd name="connsiteY3" fmla="*/ 442304 h 442304"/>
              <a:gd name="connsiteX4" fmla="*/ 0 w 971196"/>
              <a:gd name="connsiteY4" fmla="*/ 221152 h 442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1196" h="442304" extrusionOk="0">
                <a:moveTo>
                  <a:pt x="0" y="221152"/>
                </a:moveTo>
                <a:cubicBezTo>
                  <a:pt x="-17637" y="88134"/>
                  <a:pt x="193206" y="9084"/>
                  <a:pt x="485598" y="0"/>
                </a:cubicBezTo>
                <a:cubicBezTo>
                  <a:pt x="776683" y="4820"/>
                  <a:pt x="950784" y="99662"/>
                  <a:pt x="971196" y="221152"/>
                </a:cubicBezTo>
                <a:cubicBezTo>
                  <a:pt x="933354" y="380246"/>
                  <a:pt x="748979" y="468873"/>
                  <a:pt x="485598" y="442304"/>
                </a:cubicBezTo>
                <a:cubicBezTo>
                  <a:pt x="204167" y="435059"/>
                  <a:pt x="19325" y="352525"/>
                  <a:pt x="0" y="22115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E22F5-43F7-20E0-DDA6-5E79870ABD5E}"/>
              </a:ext>
            </a:extLst>
          </p:cNvPr>
          <p:cNvSpPr/>
          <p:nvPr/>
        </p:nvSpPr>
        <p:spPr>
          <a:xfrm>
            <a:off x="3589857" y="5934075"/>
            <a:ext cx="2030083" cy="62126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4. Click on “Collect payment” And then click on “Mark as paid”</a:t>
            </a:r>
            <a:endParaRPr lang="en-IN" sz="12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18F94-106A-BD81-0A54-F2271A108EA6}"/>
              </a:ext>
            </a:extLst>
          </p:cNvPr>
          <p:cNvSpPr/>
          <p:nvPr/>
        </p:nvSpPr>
        <p:spPr>
          <a:xfrm>
            <a:off x="5623394" y="6138792"/>
            <a:ext cx="1592835" cy="404091"/>
          </a:xfrm>
          <a:custGeom>
            <a:avLst/>
            <a:gdLst>
              <a:gd name="connsiteX0" fmla="*/ 0 w 1592835"/>
              <a:gd name="connsiteY0" fmla="*/ 202046 h 404091"/>
              <a:gd name="connsiteX1" fmla="*/ 796418 w 1592835"/>
              <a:gd name="connsiteY1" fmla="*/ 0 h 404091"/>
              <a:gd name="connsiteX2" fmla="*/ 1592836 w 1592835"/>
              <a:gd name="connsiteY2" fmla="*/ 202046 h 404091"/>
              <a:gd name="connsiteX3" fmla="*/ 796418 w 1592835"/>
              <a:gd name="connsiteY3" fmla="*/ 404092 h 404091"/>
              <a:gd name="connsiteX4" fmla="*/ 0 w 1592835"/>
              <a:gd name="connsiteY4" fmla="*/ 202046 h 40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835" h="404091" extrusionOk="0">
                <a:moveTo>
                  <a:pt x="0" y="202046"/>
                </a:moveTo>
                <a:cubicBezTo>
                  <a:pt x="-46824" y="61577"/>
                  <a:pt x="283894" y="27276"/>
                  <a:pt x="796418" y="0"/>
                </a:cubicBezTo>
                <a:cubicBezTo>
                  <a:pt x="1263111" y="5651"/>
                  <a:pt x="1589916" y="90552"/>
                  <a:pt x="1592836" y="202046"/>
                </a:cubicBezTo>
                <a:cubicBezTo>
                  <a:pt x="1563677" y="342109"/>
                  <a:pt x="1220335" y="492158"/>
                  <a:pt x="796418" y="404092"/>
                </a:cubicBezTo>
                <a:cubicBezTo>
                  <a:pt x="354310" y="402857"/>
                  <a:pt x="2753" y="314948"/>
                  <a:pt x="0" y="202046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CF0D3-B190-50FF-20E0-C1F966326CCD}"/>
              </a:ext>
            </a:extLst>
          </p:cNvPr>
          <p:cNvSpPr/>
          <p:nvPr/>
        </p:nvSpPr>
        <p:spPr>
          <a:xfrm>
            <a:off x="9246917" y="1237042"/>
            <a:ext cx="2130012" cy="442304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5. Click on “Save</a:t>
            </a:r>
            <a:endParaRPr lang="en-I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26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11ED032-216F-389E-ED81-4E6BE5FE5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54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99503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DD6318-1027-49F6-1BDE-C0D871839A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82" y="1124108"/>
            <a:ext cx="11083636" cy="54021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FB369974-F8AF-5DB0-AE64-FF71700963DF}"/>
              </a:ext>
            </a:extLst>
          </p:cNvPr>
          <p:cNvSpPr/>
          <p:nvPr/>
        </p:nvSpPr>
        <p:spPr>
          <a:xfrm>
            <a:off x="3860800" y="1687641"/>
            <a:ext cx="1828799" cy="298966"/>
          </a:xfrm>
          <a:custGeom>
            <a:avLst/>
            <a:gdLst>
              <a:gd name="connsiteX0" fmla="*/ 0 w 1828799"/>
              <a:gd name="connsiteY0" fmla="*/ 149483 h 298966"/>
              <a:gd name="connsiteX1" fmla="*/ 914400 w 1828799"/>
              <a:gd name="connsiteY1" fmla="*/ 0 h 298966"/>
              <a:gd name="connsiteX2" fmla="*/ 1828800 w 1828799"/>
              <a:gd name="connsiteY2" fmla="*/ 149483 h 298966"/>
              <a:gd name="connsiteX3" fmla="*/ 914400 w 1828799"/>
              <a:gd name="connsiteY3" fmla="*/ 298966 h 298966"/>
              <a:gd name="connsiteX4" fmla="*/ 0 w 1828799"/>
              <a:gd name="connsiteY4" fmla="*/ 149483 h 298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8799" h="298966" extrusionOk="0">
                <a:moveTo>
                  <a:pt x="0" y="149483"/>
                </a:moveTo>
                <a:cubicBezTo>
                  <a:pt x="-17383" y="56204"/>
                  <a:pt x="369171" y="15095"/>
                  <a:pt x="914400" y="0"/>
                </a:cubicBezTo>
                <a:cubicBezTo>
                  <a:pt x="1424514" y="1075"/>
                  <a:pt x="1823650" y="67090"/>
                  <a:pt x="1828800" y="149483"/>
                </a:cubicBezTo>
                <a:cubicBezTo>
                  <a:pt x="1807913" y="252437"/>
                  <a:pt x="1407770" y="363297"/>
                  <a:pt x="914400" y="298966"/>
                </a:cubicBezTo>
                <a:cubicBezTo>
                  <a:pt x="395405" y="291314"/>
                  <a:pt x="6874" y="235324"/>
                  <a:pt x="0" y="14948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A40509D-9CAF-86B7-59BA-6F56D042EC7A}"/>
              </a:ext>
            </a:extLst>
          </p:cNvPr>
          <p:cNvSpPr/>
          <p:nvPr/>
        </p:nvSpPr>
        <p:spPr>
          <a:xfrm>
            <a:off x="9086987" y="1687641"/>
            <a:ext cx="999122" cy="298966"/>
          </a:xfrm>
          <a:custGeom>
            <a:avLst/>
            <a:gdLst>
              <a:gd name="connsiteX0" fmla="*/ 0 w 999122"/>
              <a:gd name="connsiteY0" fmla="*/ 149483 h 298966"/>
              <a:gd name="connsiteX1" fmla="*/ 499561 w 999122"/>
              <a:gd name="connsiteY1" fmla="*/ 0 h 298966"/>
              <a:gd name="connsiteX2" fmla="*/ 999122 w 999122"/>
              <a:gd name="connsiteY2" fmla="*/ 149483 h 298966"/>
              <a:gd name="connsiteX3" fmla="*/ 499561 w 999122"/>
              <a:gd name="connsiteY3" fmla="*/ 298966 h 298966"/>
              <a:gd name="connsiteX4" fmla="*/ 0 w 999122"/>
              <a:gd name="connsiteY4" fmla="*/ 149483 h 298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122" h="298966" extrusionOk="0">
                <a:moveTo>
                  <a:pt x="0" y="149483"/>
                </a:moveTo>
                <a:cubicBezTo>
                  <a:pt x="-15970" y="57075"/>
                  <a:pt x="176142" y="17835"/>
                  <a:pt x="499561" y="0"/>
                </a:cubicBezTo>
                <a:cubicBezTo>
                  <a:pt x="780566" y="1075"/>
                  <a:pt x="993972" y="67090"/>
                  <a:pt x="999122" y="149483"/>
                </a:cubicBezTo>
                <a:cubicBezTo>
                  <a:pt x="974731" y="255859"/>
                  <a:pt x="768439" y="337777"/>
                  <a:pt x="499561" y="298966"/>
                </a:cubicBezTo>
                <a:cubicBezTo>
                  <a:pt x="209675" y="291314"/>
                  <a:pt x="6874" y="235324"/>
                  <a:pt x="0" y="14948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46BC0-A66E-3DD9-4D9E-FCB743E06EB9}"/>
              </a:ext>
            </a:extLst>
          </p:cNvPr>
          <p:cNvSpPr/>
          <p:nvPr/>
        </p:nvSpPr>
        <p:spPr>
          <a:xfrm>
            <a:off x="3616614" y="1124109"/>
            <a:ext cx="2501900" cy="42487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5. </a:t>
            </a:r>
            <a:r>
              <a:rPr lang="en-IN" sz="1200" dirty="0">
                <a:solidFill>
                  <a:schemeClr val="bg1"/>
                </a:solidFill>
                <a:effectLst>
                  <a:outerShdw dist="38100" dir="7080000" algn="r" rotWithShape="0">
                    <a:prstClr val="black"/>
                  </a:outerShdw>
                </a:effectLst>
              </a:rPr>
              <a:t>Check</a:t>
            </a:r>
            <a:r>
              <a:rPr lang="en-IN" sz="1200" dirty="0">
                <a:solidFill>
                  <a:schemeClr val="bg1"/>
                </a:solidFill>
              </a:rPr>
              <a:t> order number, paid and Fulfill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7D3414-A3F7-F7C6-C1AA-A9A13200074A}"/>
              </a:ext>
            </a:extLst>
          </p:cNvPr>
          <p:cNvSpPr/>
          <p:nvPr/>
        </p:nvSpPr>
        <p:spPr>
          <a:xfrm>
            <a:off x="8713932" y="2121750"/>
            <a:ext cx="2030845" cy="29896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6. Click on “More actions”</a:t>
            </a:r>
          </a:p>
        </p:txBody>
      </p:sp>
    </p:spTree>
    <p:extLst>
      <p:ext uri="{BB962C8B-B14F-4D97-AF65-F5344CB8AC3E}">
        <p14:creationId xmlns:p14="http://schemas.microsoft.com/office/powerpoint/2010/main" val="3692294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7C4CC2-9D0C-3BA3-8E42-5F2B1E3D6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2018" y="1089520"/>
            <a:ext cx="9527209" cy="51186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4C88B5F-4DA4-6E4E-7B8F-394D3433C6B8}"/>
              </a:ext>
            </a:extLst>
          </p:cNvPr>
          <p:cNvSpPr/>
          <p:nvPr/>
        </p:nvSpPr>
        <p:spPr>
          <a:xfrm>
            <a:off x="8903260" y="1920364"/>
            <a:ext cx="825721" cy="392681"/>
          </a:xfrm>
          <a:noFill/>
          <a:ln w="38100" cmpd="thinThick">
            <a:solidFill>
              <a:srgbClr val="C000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FC585C-B3D7-43DE-F760-52D0AA875414}"/>
              </a:ext>
            </a:extLst>
          </p:cNvPr>
          <p:cNvSpPr/>
          <p:nvPr/>
        </p:nvSpPr>
        <p:spPr>
          <a:xfrm>
            <a:off x="8889788" y="2320483"/>
            <a:ext cx="1678385" cy="39268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7. Click on “Duplicate”</a:t>
            </a:r>
          </a:p>
        </p:txBody>
      </p:sp>
    </p:spTree>
    <p:extLst>
      <p:ext uri="{BB962C8B-B14F-4D97-AF65-F5344CB8AC3E}">
        <p14:creationId xmlns:p14="http://schemas.microsoft.com/office/powerpoint/2010/main" val="3255513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1CF822-66CE-5B45-9051-B2D22E3CA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350" y="974252"/>
            <a:ext cx="10142278" cy="56355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E33CDB2-E71D-E608-9B51-DECCA71FC1A1}"/>
              </a:ext>
            </a:extLst>
          </p:cNvPr>
          <p:cNvSpPr/>
          <p:nvPr/>
        </p:nvSpPr>
        <p:spPr>
          <a:xfrm>
            <a:off x="1564502" y="1157712"/>
            <a:ext cx="1099034" cy="328863"/>
          </a:xfrm>
          <a:custGeom>
            <a:avLst/>
            <a:gdLst>
              <a:gd name="connsiteX0" fmla="*/ 0 w 1099034"/>
              <a:gd name="connsiteY0" fmla="*/ 164432 h 328863"/>
              <a:gd name="connsiteX1" fmla="*/ 549517 w 1099034"/>
              <a:gd name="connsiteY1" fmla="*/ 0 h 328863"/>
              <a:gd name="connsiteX2" fmla="*/ 1099034 w 1099034"/>
              <a:gd name="connsiteY2" fmla="*/ 164432 h 328863"/>
              <a:gd name="connsiteX3" fmla="*/ 549517 w 1099034"/>
              <a:gd name="connsiteY3" fmla="*/ 328864 h 328863"/>
              <a:gd name="connsiteX4" fmla="*/ 0 w 1099034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034" h="328863" extrusionOk="0">
                <a:moveTo>
                  <a:pt x="0" y="164432"/>
                </a:moveTo>
                <a:cubicBezTo>
                  <a:pt x="-17025" y="63118"/>
                  <a:pt x="205907" y="15058"/>
                  <a:pt x="549517" y="0"/>
                </a:cubicBezTo>
                <a:cubicBezTo>
                  <a:pt x="864843" y="2492"/>
                  <a:pt x="1077034" y="74319"/>
                  <a:pt x="1099034" y="164432"/>
                </a:cubicBezTo>
                <a:cubicBezTo>
                  <a:pt x="1064420" y="289048"/>
                  <a:pt x="843104" y="383603"/>
                  <a:pt x="549517" y="328864"/>
                </a:cubicBezTo>
                <a:cubicBezTo>
                  <a:pt x="243673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F74377-35A3-9242-9D77-E146F7FAD49A}"/>
              </a:ext>
            </a:extLst>
          </p:cNvPr>
          <p:cNvSpPr/>
          <p:nvPr/>
        </p:nvSpPr>
        <p:spPr>
          <a:xfrm>
            <a:off x="1872601" y="1588049"/>
            <a:ext cx="1838455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8. Check for Draft I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AB4014A-0231-BB5B-1935-DB04F283BABF}"/>
              </a:ext>
            </a:extLst>
          </p:cNvPr>
          <p:cNvSpPr/>
          <p:nvPr/>
        </p:nvSpPr>
        <p:spPr>
          <a:xfrm>
            <a:off x="1406395" y="4342982"/>
            <a:ext cx="5722585" cy="951987"/>
          </a:xfrm>
          <a:custGeom>
            <a:avLst/>
            <a:gdLst>
              <a:gd name="connsiteX0" fmla="*/ 0 w 5722585"/>
              <a:gd name="connsiteY0" fmla="*/ 475994 h 951987"/>
              <a:gd name="connsiteX1" fmla="*/ 2861293 w 5722585"/>
              <a:gd name="connsiteY1" fmla="*/ 0 h 951987"/>
              <a:gd name="connsiteX2" fmla="*/ 5722586 w 5722585"/>
              <a:gd name="connsiteY2" fmla="*/ 475994 h 951987"/>
              <a:gd name="connsiteX3" fmla="*/ 2861293 w 5722585"/>
              <a:gd name="connsiteY3" fmla="*/ 951988 h 951987"/>
              <a:gd name="connsiteX4" fmla="*/ 0 w 5722585"/>
              <a:gd name="connsiteY4" fmla="*/ 475994 h 951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2585" h="951987" extrusionOk="0">
                <a:moveTo>
                  <a:pt x="0" y="475994"/>
                </a:moveTo>
                <a:cubicBezTo>
                  <a:pt x="-159261" y="114874"/>
                  <a:pt x="1091820" y="71019"/>
                  <a:pt x="2861293" y="0"/>
                </a:cubicBezTo>
                <a:cubicBezTo>
                  <a:pt x="4465607" y="5066"/>
                  <a:pt x="5665060" y="214939"/>
                  <a:pt x="5722586" y="475994"/>
                </a:cubicBezTo>
                <a:cubicBezTo>
                  <a:pt x="5649268" y="810477"/>
                  <a:pt x="4433572" y="996036"/>
                  <a:pt x="2861293" y="951988"/>
                </a:cubicBezTo>
                <a:cubicBezTo>
                  <a:pt x="1262270" y="941716"/>
                  <a:pt x="13032" y="745105"/>
                  <a:pt x="0" y="475994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94E9AD-778C-C1B7-B85A-39C86F64A3A9}"/>
              </a:ext>
            </a:extLst>
          </p:cNvPr>
          <p:cNvSpPr/>
          <p:nvPr/>
        </p:nvSpPr>
        <p:spPr>
          <a:xfrm>
            <a:off x="3155801" y="4043943"/>
            <a:ext cx="3673624" cy="32886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9. Check product name and quantity to be replaced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5C4800B-3275-0954-E906-867880153BF6}"/>
              </a:ext>
            </a:extLst>
          </p:cNvPr>
          <p:cNvSpPr/>
          <p:nvPr/>
        </p:nvSpPr>
        <p:spPr>
          <a:xfrm>
            <a:off x="6426265" y="3491893"/>
            <a:ext cx="1184987" cy="328863"/>
          </a:xfrm>
          <a:custGeom>
            <a:avLst/>
            <a:gdLst>
              <a:gd name="connsiteX0" fmla="*/ 0 w 1184987"/>
              <a:gd name="connsiteY0" fmla="*/ 164432 h 328863"/>
              <a:gd name="connsiteX1" fmla="*/ 592494 w 1184987"/>
              <a:gd name="connsiteY1" fmla="*/ 0 h 328863"/>
              <a:gd name="connsiteX2" fmla="*/ 1184988 w 1184987"/>
              <a:gd name="connsiteY2" fmla="*/ 164432 h 328863"/>
              <a:gd name="connsiteX3" fmla="*/ 592494 w 1184987"/>
              <a:gd name="connsiteY3" fmla="*/ 328864 h 328863"/>
              <a:gd name="connsiteX4" fmla="*/ 0 w 1184987"/>
              <a:gd name="connsiteY4" fmla="*/ 164432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987" h="328863" extrusionOk="0">
                <a:moveTo>
                  <a:pt x="0" y="164432"/>
                </a:moveTo>
                <a:cubicBezTo>
                  <a:pt x="-31034" y="54477"/>
                  <a:pt x="225129" y="15065"/>
                  <a:pt x="592494" y="0"/>
                </a:cubicBezTo>
                <a:cubicBezTo>
                  <a:pt x="931555" y="2492"/>
                  <a:pt x="1162988" y="74319"/>
                  <a:pt x="1184988" y="164432"/>
                </a:cubicBezTo>
                <a:cubicBezTo>
                  <a:pt x="1156683" y="282886"/>
                  <a:pt x="917028" y="343735"/>
                  <a:pt x="592494" y="328864"/>
                </a:cubicBezTo>
                <a:cubicBezTo>
                  <a:pt x="262915" y="327576"/>
                  <a:pt x="15919" y="262851"/>
                  <a:pt x="0" y="164432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6D890B-9932-B62C-AA47-B500F039E4E6}"/>
              </a:ext>
            </a:extLst>
          </p:cNvPr>
          <p:cNvSpPr/>
          <p:nvPr/>
        </p:nvSpPr>
        <p:spPr>
          <a:xfrm>
            <a:off x="6429376" y="2931721"/>
            <a:ext cx="3309256" cy="54786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0. Delete product that are not to be replaced</a:t>
            </a:r>
          </a:p>
        </p:txBody>
      </p:sp>
    </p:spTree>
    <p:extLst>
      <p:ext uri="{BB962C8B-B14F-4D97-AF65-F5344CB8AC3E}">
        <p14:creationId xmlns:p14="http://schemas.microsoft.com/office/powerpoint/2010/main" val="4359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1.b.B.) Create new Replacement Order - 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B9A705-4E36-23D3-BAEE-0CCB140FF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939" y="1017942"/>
            <a:ext cx="9271235" cy="5526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AD34363F-9498-B4B5-D148-1B6359345503}"/>
              </a:ext>
            </a:extLst>
          </p:cNvPr>
          <p:cNvSpPr/>
          <p:nvPr/>
        </p:nvSpPr>
        <p:spPr>
          <a:xfrm>
            <a:off x="1754665" y="2728386"/>
            <a:ext cx="4729409" cy="1047186"/>
          </a:xfrm>
          <a:custGeom>
            <a:avLst/>
            <a:gdLst>
              <a:gd name="connsiteX0" fmla="*/ 0 w 4729409"/>
              <a:gd name="connsiteY0" fmla="*/ 523593 h 1047186"/>
              <a:gd name="connsiteX1" fmla="*/ 2364705 w 4729409"/>
              <a:gd name="connsiteY1" fmla="*/ 0 h 1047186"/>
              <a:gd name="connsiteX2" fmla="*/ 4729410 w 4729409"/>
              <a:gd name="connsiteY2" fmla="*/ 523593 h 1047186"/>
              <a:gd name="connsiteX3" fmla="*/ 2364705 w 4729409"/>
              <a:gd name="connsiteY3" fmla="*/ 1047186 h 1047186"/>
              <a:gd name="connsiteX4" fmla="*/ 0 w 4729409"/>
              <a:gd name="connsiteY4" fmla="*/ 523593 h 1047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29409" h="1047186" extrusionOk="0">
                <a:moveTo>
                  <a:pt x="0" y="523593"/>
                </a:moveTo>
                <a:cubicBezTo>
                  <a:pt x="-56811" y="199379"/>
                  <a:pt x="850911" y="77992"/>
                  <a:pt x="2364705" y="0"/>
                </a:cubicBezTo>
                <a:cubicBezTo>
                  <a:pt x="3720117" y="10404"/>
                  <a:pt x="4686353" y="235790"/>
                  <a:pt x="4729410" y="523593"/>
                </a:cubicBezTo>
                <a:cubicBezTo>
                  <a:pt x="4700720" y="840783"/>
                  <a:pt x="3624994" y="1299796"/>
                  <a:pt x="2364705" y="1047186"/>
                </a:cubicBezTo>
                <a:cubicBezTo>
                  <a:pt x="1051676" y="1043336"/>
                  <a:pt x="51216" y="837237"/>
                  <a:pt x="0" y="523593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555821-1668-3E58-0EDE-9A0822386455}"/>
              </a:ext>
            </a:extLst>
          </p:cNvPr>
          <p:cNvSpPr/>
          <p:nvPr/>
        </p:nvSpPr>
        <p:spPr>
          <a:xfrm>
            <a:off x="3121839" y="3559130"/>
            <a:ext cx="2852718" cy="793795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1. After cancelling product that are not to be replace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5B99083-74A4-5FDF-AF18-DCFE2EC3F27D}"/>
              </a:ext>
            </a:extLst>
          </p:cNvPr>
          <p:cNvSpPr/>
          <p:nvPr/>
        </p:nvSpPr>
        <p:spPr>
          <a:xfrm>
            <a:off x="6511407" y="5509874"/>
            <a:ext cx="979328" cy="361749"/>
          </a:xfrm>
          <a:custGeom>
            <a:avLst/>
            <a:gdLst>
              <a:gd name="connsiteX0" fmla="*/ 0 w 979328"/>
              <a:gd name="connsiteY0" fmla="*/ 180875 h 361749"/>
              <a:gd name="connsiteX1" fmla="*/ 489664 w 979328"/>
              <a:gd name="connsiteY1" fmla="*/ 0 h 361749"/>
              <a:gd name="connsiteX2" fmla="*/ 979328 w 979328"/>
              <a:gd name="connsiteY2" fmla="*/ 180875 h 361749"/>
              <a:gd name="connsiteX3" fmla="*/ 489664 w 979328"/>
              <a:gd name="connsiteY3" fmla="*/ 361750 h 361749"/>
              <a:gd name="connsiteX4" fmla="*/ 0 w 979328"/>
              <a:gd name="connsiteY4" fmla="*/ 180875 h 361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9328" h="361749" extrusionOk="0">
                <a:moveTo>
                  <a:pt x="0" y="180875"/>
                </a:moveTo>
                <a:cubicBezTo>
                  <a:pt x="-32421" y="60982"/>
                  <a:pt x="203455" y="5921"/>
                  <a:pt x="489664" y="0"/>
                </a:cubicBezTo>
                <a:cubicBezTo>
                  <a:pt x="778449" y="3863"/>
                  <a:pt x="964667" y="81446"/>
                  <a:pt x="979328" y="180875"/>
                </a:cubicBezTo>
                <a:cubicBezTo>
                  <a:pt x="970904" y="288997"/>
                  <a:pt x="753447" y="398511"/>
                  <a:pt x="489664" y="361750"/>
                </a:cubicBezTo>
                <a:cubicBezTo>
                  <a:pt x="202353" y="352516"/>
                  <a:pt x="4787" y="283057"/>
                  <a:pt x="0" y="180875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6BDFCD-28B3-D893-0000-712D9F97FB7F}"/>
              </a:ext>
            </a:extLst>
          </p:cNvPr>
          <p:cNvSpPr/>
          <p:nvPr/>
        </p:nvSpPr>
        <p:spPr>
          <a:xfrm>
            <a:off x="6349929" y="6008762"/>
            <a:ext cx="2734923" cy="602646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12. Total price is only for product that are to be replaced</a:t>
            </a:r>
          </a:p>
        </p:txBody>
      </p:sp>
    </p:spTree>
    <p:extLst>
      <p:ext uri="{BB962C8B-B14F-4D97-AF65-F5344CB8AC3E}">
        <p14:creationId xmlns:p14="http://schemas.microsoft.com/office/powerpoint/2010/main" val="3741465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Bryan Reinholt\Desktop\Valeant\Q1 2016_DRAFT v41.pptx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d&lt;/m_strFormatTime&gt;&lt;/m_precDefaultDay&gt;&lt;m_mruColor&gt;&lt;m_vecMRU length=&quot;6&quot;&gt;&lt;elem m_fUsage=&quot;2.43500952519000040000E+000&quot;&gt;&lt;m_msothmcolidx val=&quot;0&quot;/&gt;&lt;m_rgb r=&quot;ff&quot; g=&quot;66&quot; b=&quot;0&quot;/&gt;&lt;m_ppcolschidx tagver0=&quot;23004&quot; tagname0=&quot;m_ppcolschidxUNRECOGNIZED&quot; val=&quot;0&quot;/&gt;&lt;m_nBrightness val=&quot;0&quot;/&gt;&lt;/elem&gt;&lt;elem m_fUsage=&quot;2.39925410999999980000E+000&quot;&gt;&lt;m_msothmcolidx val=&quot;0&quot;/&gt;&lt;m_rgb r=&quot;0&quot; g=&quot;0&quot; b=&quot;0&quot;/&gt;&lt;m_ppcolschidx tagver0=&quot;23004&quot; tagname0=&quot;m_ppcolschidxUNRECOGNIZED&quot; val=&quot;0&quot;/&gt;&lt;m_nBrightness val=&quot;0&quot;/&gt;&lt;/elem&gt;&lt;elem m_fUsage=&quot;1.9349061314434743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9.31576654590569380000E-001&quot;&gt;&lt;m_msothmcolidx val=&quot;0&quot;/&gt;&lt;m_rgb r=&quot;1f&quot; g=&quot;7e&quot; b=&quot;37&quot;/&gt;&lt;m_ppcolschidx tagver0=&quot;23004&quot; tagname0=&quot;m_ppcolschidxUNRECOGNIZED&quot; val=&quot;0&quot;/&gt;&lt;m_nBrightness val=&quot;0&quot;/&gt;&lt;/elem&gt;&lt;elem m_fUsage=&quot;6.73622687460833310000E-001&quot;&gt;&lt;m_msothmcolidx val=&quot;0&quot;/&gt;&lt;m_rgb r=&quot;b7&quot; g=&quot;b9&quot; b=&quot;b5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ff&quot; g=&quot;11&quot; b=&quot;1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9AA6"/>
      </a:accent1>
      <a:accent2>
        <a:srgbClr val="52B3D2"/>
      </a:accent2>
      <a:accent3>
        <a:srgbClr val="72CE9B"/>
      </a:accent3>
      <a:accent4>
        <a:srgbClr val="5BC6E8"/>
      </a:accent4>
      <a:accent5>
        <a:srgbClr val="969696"/>
      </a:accent5>
      <a:accent6>
        <a:srgbClr val="BCE3C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9AA6"/>
        </a:accent1>
        <a:accent2>
          <a:srgbClr val="52B3D2"/>
        </a:accent2>
        <a:accent3>
          <a:srgbClr val="72CE9B"/>
        </a:accent3>
        <a:accent4>
          <a:srgbClr val="5BC6E8"/>
        </a:accent4>
        <a:accent5>
          <a:srgbClr val="969696"/>
        </a:accent5>
        <a:accent6>
          <a:srgbClr val="BCE3C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J4817_OFF.potx" id="{9C20179A-A049-4A26-A18A-B3EE73A47446}" vid="{CFA45B3C-62F7-453A-89ED-748A91AFC06A}"/>
    </a:ext>
  </a:extLst>
</a:theme>
</file>

<file path=ppt/theme/theme4.xml><?xml version="1.0" encoding="utf-8"?>
<a:theme xmlns:a="http://schemas.openxmlformats.org/drawingml/2006/main" name="Bausch + Lomb Grid 16:9 - 16520">
  <a:themeElements>
    <a:clrScheme name="BL">
      <a:dk1>
        <a:srgbClr val="010101"/>
      </a:dk1>
      <a:lt1>
        <a:sysClr val="window" lastClr="FFFFFF"/>
      </a:lt1>
      <a:dk2>
        <a:srgbClr val="009AA6"/>
      </a:dk2>
      <a:lt2>
        <a:srgbClr val="F2F2F2"/>
      </a:lt2>
      <a:accent1>
        <a:srgbClr val="004D53"/>
      </a:accent1>
      <a:accent2>
        <a:srgbClr val="00747D"/>
      </a:accent2>
      <a:accent3>
        <a:srgbClr val="FFFF00"/>
      </a:accent3>
      <a:accent4>
        <a:srgbClr val="31F0FF"/>
      </a:accent4>
      <a:accent5>
        <a:srgbClr val="C8C8C8"/>
      </a:accent5>
      <a:accent6>
        <a:srgbClr val="72CE9B"/>
      </a:accent6>
      <a:hlink>
        <a:srgbClr val="52B3D2"/>
      </a:hlink>
      <a:folHlink>
        <a:srgbClr val="5BC6E8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AA6"/>
        </a:solidFill>
        <a:ln w="9525" cap="rnd" cmpd="sng" algn="ctr">
          <a:solidFill>
            <a:srgbClr val="009AA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01010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3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E39B51051C5C40971F383C9A24E32E" ma:contentTypeVersion="4" ma:contentTypeDescription="Create a new document." ma:contentTypeScope="" ma:versionID="ae17a32809b8a823f6f4a1caeed48627">
  <xsd:schema xmlns:xsd="http://www.w3.org/2001/XMLSchema" xmlns:xs="http://www.w3.org/2001/XMLSchema" xmlns:p="http://schemas.microsoft.com/office/2006/metadata/properties" xmlns:ns2="bbffafd3-2c2b-4a03-9a57-24df638abb48" xmlns:ns3="4cae60e7-7955-404c-8b53-a223e58d1f59" targetNamespace="http://schemas.microsoft.com/office/2006/metadata/properties" ma:root="true" ma:fieldsID="bd70da94451aaca04cb6e9acc4b58f81" ns2:_="" ns3:_="">
    <xsd:import namespace="bbffafd3-2c2b-4a03-9a57-24df638abb48"/>
    <xsd:import namespace="4cae60e7-7955-404c-8b53-a223e58d1f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ffafd3-2c2b-4a03-9a57-24df638abb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e60e7-7955-404c-8b53-a223e58d1f5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93F21D-AB3B-423D-A230-FF2D9BB18FAE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23ba6862-1a4b-4f75-a944-8603845fcf5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E34B925-6DC8-443E-96DE-9F6094B83D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ffafd3-2c2b-4a03-9a57-24df638abb48"/>
    <ds:schemaRef ds:uri="4cae60e7-7955-404c-8b53-a223e58d1f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F8D904-75E0-42F7-90D3-FDB2FE54E6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0</TotalTime>
  <Words>2307</Words>
  <Application>Microsoft Office PowerPoint</Application>
  <PresentationFormat>Custom</PresentationFormat>
  <Paragraphs>301</Paragraphs>
  <Slides>5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73" baseType="lpstr">
      <vt:lpstr>Arial</vt:lpstr>
      <vt:lpstr>Calibri</vt:lpstr>
      <vt:lpstr>Georgia</vt:lpstr>
      <vt:lpstr>Helvetica</vt:lpstr>
      <vt:lpstr>Poppins</vt:lpstr>
      <vt:lpstr>Segoe UI</vt:lpstr>
      <vt:lpstr>Times New Roman</vt:lpstr>
      <vt:lpstr>Trebuchet MS</vt:lpstr>
      <vt:lpstr>Verdana</vt:lpstr>
      <vt:lpstr>Wingdings</vt:lpstr>
      <vt:lpstr>1_Office Theme</vt:lpstr>
      <vt:lpstr>2_Office Theme</vt:lpstr>
      <vt:lpstr>25_White</vt:lpstr>
      <vt:lpstr>Bausch + Lomb Grid 16:9 - 16520</vt:lpstr>
      <vt:lpstr>3_Office Theme</vt:lpstr>
      <vt:lpstr>think-cell Slide</vt:lpstr>
      <vt:lpstr>US Consumer eCommerce Shopify Implementation</vt:lpstr>
      <vt:lpstr>Points Covered </vt:lpstr>
      <vt:lpstr>1. Creating Replacement</vt:lpstr>
      <vt:lpstr>1.a) Steps for Replacement Order</vt:lpstr>
      <vt:lpstr>1.b.A.) Check the existing Order</vt:lpstr>
      <vt:lpstr>1.b.B.) Create new Replacement Order - 1</vt:lpstr>
      <vt:lpstr>1.b.B.) Create new Replacement Order - 2</vt:lpstr>
      <vt:lpstr>1.b.B.) Create new Replacement Order - 3</vt:lpstr>
      <vt:lpstr>1.b.B.) Create new Replacement Order - 4</vt:lpstr>
      <vt:lpstr>1.b.B.) Create new Replacement Order - 5</vt:lpstr>
      <vt:lpstr>1.b.B.) Create new Replacement Order - 6</vt:lpstr>
      <vt:lpstr>1.b.B.) Create new Replacement Order - 7</vt:lpstr>
      <vt:lpstr>1.b.B.) Create new Replacement Order - 8</vt:lpstr>
      <vt:lpstr>1.b.B.) Create new Replacement Order - 9</vt:lpstr>
      <vt:lpstr>1.b.C.) Verify The Order - 1</vt:lpstr>
      <vt:lpstr>1.b.C.) Verify The Order - 2</vt:lpstr>
      <vt:lpstr>2. Changing Shipping Address on Replacement Order</vt:lpstr>
      <vt:lpstr>2.a.) Questionnaire</vt:lpstr>
      <vt:lpstr>2.b.) Steps to change Shipping Address</vt:lpstr>
      <vt:lpstr>2.c.) Change Shipping Address - 1</vt:lpstr>
      <vt:lpstr>2.c.) Change Shipping Address - 2</vt:lpstr>
      <vt:lpstr>2.c.) Change Shipping Address - 3</vt:lpstr>
      <vt:lpstr>2.c.) Change Shipping Address - 4</vt:lpstr>
      <vt:lpstr>2.c.) Change Shipping Address - 5</vt:lpstr>
      <vt:lpstr>3. Filtering Replaced Orders</vt:lpstr>
      <vt:lpstr>3.a.) Steps to Filter Replaced Orders</vt:lpstr>
      <vt:lpstr>3.b.) Overview</vt:lpstr>
      <vt:lpstr>4. DOs and DON’Ts for Replacement orders</vt:lpstr>
      <vt:lpstr>4. DOs and DON’Ts For Replacement</vt:lpstr>
      <vt:lpstr>5. Order Cancellation Process</vt:lpstr>
      <vt:lpstr>5.a.) Order Cancellation Rules</vt:lpstr>
      <vt:lpstr>5.b.) Steps to Cancel Order</vt:lpstr>
      <vt:lpstr>5.c.) Overview- 1</vt:lpstr>
      <vt:lpstr>5.c.) Overview- 2</vt:lpstr>
      <vt:lpstr>5.c.) Overview- 3</vt:lpstr>
      <vt:lpstr>5.c.) Overview- 4</vt:lpstr>
      <vt:lpstr>6.Order Refund process</vt:lpstr>
      <vt:lpstr>6.a.) Refund Rules</vt:lpstr>
      <vt:lpstr>6.b.) Steps to Refund Orders</vt:lpstr>
      <vt:lpstr>6.c.) Overview- 1</vt:lpstr>
      <vt:lpstr>6.c.) Overview- 2</vt:lpstr>
      <vt:lpstr>6.c.) Overview- 3</vt:lpstr>
      <vt:lpstr>6.c.) Overview- 5</vt:lpstr>
      <vt:lpstr>6.c.) Overview- 5</vt:lpstr>
      <vt:lpstr>7. Replacement for Subscription orders </vt:lpstr>
      <vt:lpstr>7.a.) Replacement Rules</vt:lpstr>
      <vt:lpstr>7.b.) Replacement Process</vt:lpstr>
      <vt:lpstr>7.b.) Replacement Process - 1</vt:lpstr>
      <vt:lpstr>7.b.) Replacement Process - 2</vt:lpstr>
      <vt:lpstr>7.b.) Replacement Process - 3</vt:lpstr>
      <vt:lpstr>7.b.) Replacement Process - 4</vt:lpstr>
      <vt:lpstr>7.b.) Replacement Process - 5</vt:lpstr>
      <vt:lpstr>7.b.) Replacement Process - 6</vt:lpstr>
      <vt:lpstr>7.b.) Replacement Process - 7</vt:lpstr>
      <vt:lpstr>7.b.) Replacement Process - 8</vt:lpstr>
      <vt:lpstr>7.b.) Replacement Process - 9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usch Health PowerPoint Presentation Template - FINAL</dc:title>
  <dc:creator/>
  <cp:lastModifiedBy/>
  <cp:revision>93</cp:revision>
  <dcterms:created xsi:type="dcterms:W3CDTF">2016-05-27T19:28:38Z</dcterms:created>
  <dcterms:modified xsi:type="dcterms:W3CDTF">2023-07-25T13:1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E39B51051C5C40971F383C9A24E32E</vt:lpwstr>
  </property>
  <property fmtid="{D5CDD505-2E9C-101B-9397-08002B2CF9AE}" pid="3" name="Order">
    <vt:r8>4000</vt:r8>
  </property>
  <property fmtid="{D5CDD505-2E9C-101B-9397-08002B2CF9AE}" pid="4" name="Record Access Control Level">
    <vt:lpwstr/>
  </property>
  <property fmtid="{D5CDD505-2E9C-101B-9397-08002B2CF9AE}" pid="5" name="CWRMItemRecordClassification">
    <vt:lpwstr/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TemplateUrl">
    <vt:lpwstr/>
  </property>
  <property fmtid="{D5CDD505-2E9C-101B-9397-08002B2CF9AE}" pid="13" name="ComplianceAssetId">
    <vt:lpwstr/>
  </property>
</Properties>
</file>